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handoutMasterIdLst>
    <p:handoutMasterId r:id="rId14"/>
  </p:handoutMasterIdLst>
  <p:sldIdLst>
    <p:sldId id="256" r:id="rId3"/>
    <p:sldId id="257" r:id="rId4"/>
    <p:sldId id="258" r:id="rId5"/>
    <p:sldId id="267" r:id="rId6"/>
    <p:sldId id="273" r:id="rId7"/>
    <p:sldId id="268" r:id="rId8"/>
    <p:sldId id="269" r:id="rId9"/>
    <p:sldId id="271" r:id="rId10"/>
    <p:sldId id="266" r:id="rId11"/>
    <p:sldId id="275" r:id="rId12"/>
    <p:sldId id="27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C00"/>
    <a:srgbClr val="D94712"/>
    <a:srgbClr val="D3B603"/>
    <a:srgbClr val="CFB602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90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8" d="100"/>
          <a:sy n="58" d="100"/>
        </p:scale>
        <p:origin x="255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208F07-2337-40EC-8155-6305655E7C8A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5E9D1-CF26-47C7-943C-887FEE662B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343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51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5407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90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292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827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568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77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1210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816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6519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10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72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1468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4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112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176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89760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66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1493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28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080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557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176BA8-A5E3-4063-9E1A-E0D45FC7EAAD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C7C2AB-AB1E-4009-9296-344B75BF167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204046"/>
            <a:ext cx="585216" cy="7723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60126" y="204046"/>
            <a:ext cx="82296" cy="772347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2075761" y="204045"/>
            <a:ext cx="146304" cy="77234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918197" y="204045"/>
            <a:ext cx="64575" cy="77724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4403" y="4792828"/>
            <a:ext cx="3307597" cy="242189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5400378"/>
            <a:ext cx="2667000" cy="120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427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664755-4E8D-42D9-B509-144F9BD5BE44}" type="datetimeFigureOut">
              <a:rPr lang="en-US" smtClean="0"/>
              <a:t>3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997E26-8720-4257-8648-28C61BF7A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810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080717"/>
            <a:ext cx="9144000" cy="1777283"/>
          </a:xfrm>
        </p:spPr>
        <p:txBody>
          <a:bodyPr>
            <a:normAutofit lnSpcReduction="10000"/>
          </a:bodyPr>
          <a:lstStyle/>
          <a:p>
            <a:r>
              <a:rPr lang="en-US" sz="3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“To Explore and Visualize the Data”</a:t>
            </a:r>
          </a:p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akesh Kunwar</a:t>
            </a:r>
          </a:p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oftware Developer and Data Analyst</a:t>
            </a:r>
          </a:p>
          <a:p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734" y="0"/>
            <a:ext cx="12192000" cy="508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4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858000"/>
          </a:xfrm>
          <a:solidFill>
            <a:srgbClr val="92D050"/>
          </a:solidFill>
        </p:spPr>
        <p:txBody>
          <a:bodyPr>
            <a:normAutofit/>
          </a:bodyPr>
          <a:lstStyle/>
          <a:p>
            <a:r>
              <a:rPr lang="en-US" sz="6000" dirty="0" smtClean="0">
                <a:solidFill>
                  <a:schemeClr val="bg1"/>
                </a:solidFill>
              </a:rPr>
              <a:t>Power BI Service</a:t>
            </a:r>
            <a:br>
              <a:rPr lang="en-US" sz="6000" dirty="0" smtClean="0">
                <a:solidFill>
                  <a:schemeClr val="bg1"/>
                </a:solidFill>
              </a:rPr>
            </a:br>
            <a:r>
              <a:rPr lang="en-US" sz="6000" dirty="0" smtClean="0">
                <a:solidFill>
                  <a:schemeClr val="bg1"/>
                </a:solidFill>
              </a:rPr>
              <a:t>Integration</a:t>
            </a:r>
            <a:endParaRPr lang="en-US" sz="6000" dirty="0">
              <a:solidFill>
                <a:schemeClr val="bg1"/>
              </a:solidFill>
            </a:endParaRPr>
          </a:p>
        </p:txBody>
      </p:sp>
      <p:sp>
        <p:nvSpPr>
          <p:cNvPr id="3" name="Frame 2"/>
          <p:cNvSpPr/>
          <p:nvPr/>
        </p:nvSpPr>
        <p:spPr>
          <a:xfrm>
            <a:off x="9777276" y="4676775"/>
            <a:ext cx="1688123" cy="1152725"/>
          </a:xfrm>
          <a:prstGeom prst="frame">
            <a:avLst/>
          </a:prstGeom>
          <a:solidFill>
            <a:srgbClr val="21212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4" name="Rectangle 3"/>
          <p:cNvSpPr/>
          <p:nvPr/>
        </p:nvSpPr>
        <p:spPr>
          <a:xfrm>
            <a:off x="9997921" y="3844899"/>
            <a:ext cx="1246832" cy="612648"/>
          </a:xfrm>
          <a:prstGeom prst="rect">
            <a:avLst/>
          </a:prstGeom>
          <a:solidFill>
            <a:srgbClr val="21212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WORKSPACE</a:t>
            </a:r>
          </a:p>
        </p:txBody>
      </p:sp>
      <p:sp>
        <p:nvSpPr>
          <p:cNvPr id="5" name="Rectangle 4"/>
          <p:cNvSpPr/>
          <p:nvPr/>
        </p:nvSpPr>
        <p:spPr>
          <a:xfrm>
            <a:off x="7837524" y="3237255"/>
            <a:ext cx="1536982" cy="1827936"/>
          </a:xfrm>
          <a:prstGeom prst="rect">
            <a:avLst/>
          </a:prstGeom>
          <a:solidFill>
            <a:srgbClr val="21212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WORKSPACES</a:t>
            </a:r>
          </a:p>
        </p:txBody>
      </p:sp>
      <p:sp>
        <p:nvSpPr>
          <p:cNvPr id="6" name="Flowchart: Multidocument 5"/>
          <p:cNvSpPr/>
          <p:nvPr/>
        </p:nvSpPr>
        <p:spPr>
          <a:xfrm>
            <a:off x="5996803" y="3369431"/>
            <a:ext cx="1167269" cy="1561349"/>
          </a:xfrm>
          <a:prstGeom prst="flowChartMultidocument">
            <a:avLst/>
          </a:prstGeom>
          <a:solidFill>
            <a:srgbClr val="5095D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ZURE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DATA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Flowchart: Magnetic Disk 6"/>
          <p:cNvSpPr/>
          <p:nvPr/>
        </p:nvSpPr>
        <p:spPr>
          <a:xfrm>
            <a:off x="6453577" y="4268331"/>
            <a:ext cx="733530" cy="934566"/>
          </a:xfrm>
          <a:prstGeom prst="flowChartMagneticDisk">
            <a:avLst/>
          </a:prstGeom>
          <a:solidFill>
            <a:srgbClr val="5095D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Flowchart: Alternate Process 7"/>
          <p:cNvSpPr/>
          <p:nvPr/>
        </p:nvSpPr>
        <p:spPr>
          <a:xfrm>
            <a:off x="7806962" y="2132816"/>
            <a:ext cx="1597688" cy="720916"/>
          </a:xfrm>
          <a:prstGeom prst="flowChartAlternateProcess">
            <a:avLst/>
          </a:prstGeom>
          <a:solidFill>
            <a:schemeClr val="accent1">
              <a:lumMod val="75000"/>
            </a:schemeClr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ZURE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SUBSCRIPTION</a:t>
            </a:r>
          </a:p>
        </p:txBody>
      </p:sp>
      <p:cxnSp>
        <p:nvCxnSpPr>
          <p:cNvPr id="9" name="Straight Arrow Connector 8"/>
          <p:cNvCxnSpPr>
            <a:stCxn id="6" idx="3"/>
            <a:endCxn id="5" idx="1"/>
          </p:cNvCxnSpPr>
          <p:nvPr/>
        </p:nvCxnSpPr>
        <p:spPr>
          <a:xfrm>
            <a:off x="7164072" y="4150106"/>
            <a:ext cx="673452" cy="1117"/>
          </a:xfrm>
          <a:prstGeom prst="straightConnector1">
            <a:avLst/>
          </a:prstGeom>
          <a:ln>
            <a:solidFill>
              <a:srgbClr val="212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5" idx="3"/>
            <a:endCxn id="4" idx="1"/>
          </p:cNvCxnSpPr>
          <p:nvPr/>
        </p:nvCxnSpPr>
        <p:spPr>
          <a:xfrm>
            <a:off x="9374506" y="4151223"/>
            <a:ext cx="623415" cy="0"/>
          </a:xfrm>
          <a:prstGeom prst="straightConnector1">
            <a:avLst/>
          </a:prstGeom>
          <a:ln>
            <a:solidFill>
              <a:srgbClr val="212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4" idx="2"/>
            <a:endCxn id="3" idx="0"/>
          </p:cNvCxnSpPr>
          <p:nvPr/>
        </p:nvCxnSpPr>
        <p:spPr>
          <a:xfrm>
            <a:off x="10621337" y="4457547"/>
            <a:ext cx="1" cy="219228"/>
          </a:xfrm>
          <a:prstGeom prst="straightConnector1">
            <a:avLst/>
          </a:prstGeom>
          <a:ln>
            <a:solidFill>
              <a:srgbClr val="212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5856097" y="1825625"/>
            <a:ext cx="1448680" cy="105825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rgbClr val="21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DEVELOPER</a:t>
            </a:r>
          </a:p>
        </p:txBody>
      </p:sp>
      <p:cxnSp>
        <p:nvCxnSpPr>
          <p:cNvPr id="13" name="Straight Arrow Connector 12"/>
          <p:cNvCxnSpPr>
            <a:stCxn id="12" idx="6"/>
            <a:endCxn id="8" idx="1"/>
          </p:cNvCxnSpPr>
          <p:nvPr/>
        </p:nvCxnSpPr>
        <p:spPr>
          <a:xfrm>
            <a:off x="7304777" y="2354751"/>
            <a:ext cx="502185" cy="138523"/>
          </a:xfrm>
          <a:prstGeom prst="straightConnector1">
            <a:avLst/>
          </a:prstGeom>
          <a:ln>
            <a:solidFill>
              <a:srgbClr val="212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9938885" y="4834207"/>
            <a:ext cx="1363014" cy="840423"/>
          </a:xfrm>
          <a:prstGeom prst="rect">
            <a:avLst/>
          </a:prstGeom>
          <a:solidFill>
            <a:srgbClr val="F2C811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PP</a:t>
            </a:r>
          </a:p>
        </p:txBody>
      </p:sp>
    </p:spTree>
    <p:extLst>
      <p:ext uri="{BB962C8B-B14F-4D97-AF65-F5344CB8AC3E}">
        <p14:creationId xmlns:p14="http://schemas.microsoft.com/office/powerpoint/2010/main" val="20806805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7999"/>
          </a:xfrm>
          <a:solidFill>
            <a:srgbClr val="92D050"/>
          </a:solidFill>
        </p:spPr>
        <p:txBody>
          <a:bodyPr/>
          <a:lstStyle/>
          <a:p>
            <a:r>
              <a:rPr lang="en-US" sz="10000" dirty="0" smtClean="0">
                <a:solidFill>
                  <a:schemeClr val="bg1"/>
                </a:solidFill>
              </a:rPr>
              <a:t>    Demo</a:t>
            </a:r>
            <a:endParaRPr lang="en-US" sz="10000" dirty="0">
              <a:solidFill>
                <a:schemeClr val="bg1"/>
              </a:solidFill>
            </a:endParaRPr>
          </a:p>
        </p:txBody>
      </p:sp>
      <p:sp>
        <p:nvSpPr>
          <p:cNvPr id="3" name="Text Placeholder 1"/>
          <p:cNvSpPr txBox="1">
            <a:spLocks/>
          </p:cNvSpPr>
          <p:nvPr/>
        </p:nvSpPr>
        <p:spPr>
          <a:xfrm>
            <a:off x="462207" y="2228850"/>
            <a:ext cx="10058400" cy="182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453" y="3124993"/>
            <a:ext cx="608013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4404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0518" y="14396"/>
            <a:ext cx="10515600" cy="1325563"/>
          </a:xfrm>
        </p:spPr>
        <p:txBody>
          <a:bodyPr>
            <a:normAutofit/>
          </a:bodyPr>
          <a:lstStyle/>
          <a:p>
            <a:pPr algn="ctr"/>
            <a:endParaRPr lang="en-US" sz="5000" b="1" dirty="0">
              <a:latin typeface="Dolphin" pitchFamily="2" charset="0"/>
              <a:ea typeface="DengXian" panose="03000509000000000000" pitchFamily="65" charset="-12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2594" y="1339959"/>
            <a:ext cx="10515600" cy="4351338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53419" y="1640406"/>
            <a:ext cx="3539474" cy="361273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49174" tIns="186467" rIns="46616" bIns="190901" numCol="1" rtlCol="0" anchor="t" anchorCtr="0" compatLnSpc="1">
            <a:prstTxWarp prst="textNoShape">
              <a:avLst/>
            </a:prstTxWarp>
          </a:bodyPr>
          <a:lstStyle/>
          <a:p>
            <a:pPr defTabSz="931577" fontAlgn="base">
              <a:lnSpc>
                <a:spcPct val="95000"/>
              </a:lnSpc>
              <a:spcBef>
                <a:spcPct val="0"/>
              </a:spcBef>
            </a:pPr>
            <a:r>
              <a:rPr lang="en-US" sz="3199" dirty="0">
                <a:solidFill>
                  <a:prstClr val="white"/>
                </a:solidFill>
                <a:latin typeface="Segoe UI Light"/>
              </a:rPr>
              <a:t>Unlock i</a:t>
            </a: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nsights</a:t>
            </a:r>
            <a:br>
              <a:rPr lang="en-US" sz="3199" dirty="0" smtClean="0">
                <a:solidFill>
                  <a:prstClr val="white"/>
                </a:solidFill>
                <a:latin typeface="Segoe UI Light"/>
              </a:rPr>
            </a:b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on </a:t>
            </a:r>
            <a:r>
              <a:rPr lang="en-US" sz="3199" dirty="0">
                <a:solidFill>
                  <a:prstClr val="white"/>
                </a:solidFill>
                <a:latin typeface="Segoe UI Light"/>
              </a:rPr>
              <a:t>a</a:t>
            </a: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ny </a:t>
            </a:r>
            <a:r>
              <a:rPr lang="en-US" sz="3199" dirty="0">
                <a:solidFill>
                  <a:prstClr val="white"/>
                </a:solidFill>
                <a:latin typeface="Segoe UI Light"/>
              </a:rPr>
              <a:t>d</a:t>
            </a: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ata</a:t>
            </a:r>
            <a:endParaRPr lang="en-US" sz="3199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436378" y="1640406"/>
            <a:ext cx="3539474" cy="3612737"/>
          </a:xfrm>
          <a:prstGeom prst="rect">
            <a:avLst/>
          </a:prstGeom>
          <a:solidFill>
            <a:srgbClr val="D94712">
              <a:alpha val="8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Power BI</a:t>
            </a:r>
            <a:br>
              <a:rPr lang="en-US" sz="3199" dirty="0" smtClean="0">
                <a:solidFill>
                  <a:prstClr val="white"/>
                </a:solidFill>
                <a:latin typeface="Segoe UI Light"/>
              </a:rPr>
            </a:b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overview</a:t>
            </a:r>
            <a:endParaRPr lang="en-US" sz="3199" dirty="0">
              <a:solidFill>
                <a:prstClr val="white"/>
              </a:solidFill>
              <a:latin typeface="Segoe UI Light"/>
            </a:endParaRPr>
          </a:p>
          <a:p>
            <a:pPr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8419338" y="1640406"/>
            <a:ext cx="3539474" cy="361273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49174" tIns="186467" rIns="46616" bIns="190901" numCol="1" rtlCol="0" anchor="t" anchorCtr="0" compatLnSpc="1">
            <a:prstTxWarp prst="textNoShape">
              <a:avLst/>
            </a:prstTxWarp>
          </a:bodyPr>
          <a:lstStyle/>
          <a:p>
            <a:pPr defTabSz="931577" fontAlgn="base">
              <a:lnSpc>
                <a:spcPct val="95000"/>
              </a:lnSpc>
              <a:spcBef>
                <a:spcPct val="0"/>
              </a:spcBef>
            </a:pP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Turning data</a:t>
            </a:r>
            <a:br>
              <a:rPr lang="en-US" sz="3199" dirty="0" smtClean="0">
                <a:solidFill>
                  <a:prstClr val="white"/>
                </a:solidFill>
                <a:latin typeface="Segoe UI Light"/>
              </a:rPr>
            </a:br>
            <a:r>
              <a:rPr lang="en-US" sz="3199" dirty="0" smtClean="0">
                <a:solidFill>
                  <a:prstClr val="white"/>
                </a:solidFill>
                <a:latin typeface="Segoe UI Light"/>
              </a:rPr>
              <a:t>into a business advantage</a:t>
            </a:r>
            <a:endParaRPr lang="en-US" sz="3199" dirty="0">
              <a:solidFill>
                <a:prstClr val="white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85448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0518" y="14396"/>
            <a:ext cx="10515600" cy="1325563"/>
          </a:xfrm>
        </p:spPr>
        <p:txBody>
          <a:bodyPr/>
          <a:lstStyle/>
          <a:p>
            <a:r>
              <a:rPr lang="en-US" dirty="0" smtClean="0"/>
              <a:t>The world of data is chang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5863160" y="1385513"/>
            <a:ext cx="2937701" cy="2284878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6521" tIns="139891" rIns="186521" bIns="139891" numCol="1" rtlCol="0" anchor="b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Consumerization of IT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897527" y="2551267"/>
            <a:ext cx="1119125" cy="1119124"/>
            <a:chOff x="780466" y="7239000"/>
            <a:chExt cx="1097281" cy="1097280"/>
          </a:xfrm>
        </p:grpSpPr>
        <p:sp>
          <p:nvSpPr>
            <p:cNvPr id="6" name="Rectangle 5"/>
            <p:cNvSpPr/>
            <p:nvPr/>
          </p:nvSpPr>
          <p:spPr bwMode="auto">
            <a:xfrm>
              <a:off x="780466" y="7239000"/>
              <a:ext cx="1097281" cy="109728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46628" rIns="93256" bIns="46628" numCol="1" rtlCol="0" anchor="b" anchorCtr="0" compatLnSpc="1">
              <a:prstTxWarp prst="textNoShape">
                <a:avLst/>
              </a:prstTxWarp>
            </a:bodyPr>
            <a:lstStyle/>
            <a:p>
              <a:pPr algn="r"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2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3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0410" y="7334967"/>
              <a:ext cx="1077393" cy="862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ctangle 7"/>
          <p:cNvSpPr/>
          <p:nvPr/>
        </p:nvSpPr>
        <p:spPr bwMode="auto">
          <a:xfrm>
            <a:off x="8897527" y="1385513"/>
            <a:ext cx="1119124" cy="1119124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11912" tIns="74608" rIns="111912" bIns="74608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4.3</a:t>
            </a:r>
            <a:r>
              <a:rPr lang="en-US" sz="142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connected devices per adult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0061905" y="2551267"/>
            <a:ext cx="1119124" cy="1119124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11912" tIns="74608" rIns="111912" bIns="74608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kern="0" spc="-3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27%</a:t>
            </a:r>
          </a:p>
          <a:p>
            <a:pPr defTabSz="9322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kern="0" spc="-3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using social media input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0061905" y="1385513"/>
            <a:ext cx="1119124" cy="1119124"/>
            <a:chOff x="1922117" y="6096000"/>
            <a:chExt cx="1097280" cy="1097280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922117" y="6096000"/>
              <a:ext cx="1097280" cy="109728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46628" rIns="93256" bIns="46628" numCol="1" rtlCol="0" anchor="b" anchorCtr="0" compatLnSpc="1">
              <a:prstTxWarp prst="textNoShape">
                <a:avLst/>
              </a:prstTxWarp>
            </a:bodyPr>
            <a:lstStyle/>
            <a:p>
              <a:pPr algn="r"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953542" y="6244627"/>
              <a:ext cx="1034431" cy="800024"/>
              <a:chOff x="8958986" y="4228507"/>
              <a:chExt cx="2623029" cy="2099049"/>
            </a:xfrm>
          </p:grpSpPr>
          <p:pic>
            <p:nvPicPr>
              <p:cNvPr id="13" name="Picture 2" descr="E:\iPad_Assets\ipad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58986" y="4228507"/>
                <a:ext cx="1031089" cy="14569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" name="Picture 3" descr="G:\MyPhotos\DVD\DVD_Art_08-10-2010\Artwork_Imagery\Hardware Photos\OEM HW\COMPUTERS - PC\Windows 7\AIOs\acer aspire z5610-all-in-one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77681" y="4311753"/>
                <a:ext cx="1704334" cy="1788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" name="Picture 4" descr="\\SFP\Work\White_Whale\2-20426_Lees_MCB_Partner\Art\Images\Phones\VerizonDroidPhone_Full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5512" y="5087133"/>
                <a:ext cx="436093" cy="794585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5" descr="\\SFP\Work\White_Whale\2-xxxxx_Anderson_MMS\SFP_Art\Device Freedom\Symbian_Phone.png"/>
              <p:cNvPicPr>
                <a:picLocks noChangeAspect="1" noChangeArrowheads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292954" y="5284139"/>
                <a:ext cx="477529" cy="83855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5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0128485" y="5400328"/>
                <a:ext cx="431560" cy="793728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613542" y="5516707"/>
                <a:ext cx="459867" cy="810849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9" name="Rectangle 18"/>
          <p:cNvSpPr/>
          <p:nvPr/>
        </p:nvSpPr>
        <p:spPr bwMode="auto">
          <a:xfrm>
            <a:off x="545291" y="1385513"/>
            <a:ext cx="1119124" cy="1119124"/>
          </a:xfrm>
          <a:prstGeom prst="rect">
            <a:avLst/>
          </a:prstGeom>
          <a:solidFill>
            <a:srgbClr val="DC3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11912" tIns="74608" rIns="111912" bIns="74608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10x</a:t>
            </a:r>
            <a:r>
              <a:rPr lang="en-US" sz="142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increase every five year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1709669" y="2551267"/>
            <a:ext cx="1119124" cy="1119124"/>
          </a:xfrm>
          <a:prstGeom prst="rect">
            <a:avLst/>
          </a:prstGeom>
          <a:solidFill>
            <a:srgbClr val="DC3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11912" tIns="74608" rIns="111912" bIns="74608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kern="0" spc="-3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85%</a:t>
            </a:r>
            <a:r>
              <a:rPr lang="en-US" sz="1428" kern="0" spc="-3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from new data types</a:t>
            </a:r>
          </a:p>
        </p:txBody>
      </p:sp>
      <p:pic>
        <p:nvPicPr>
          <p:cNvPr id="21" name="6 - pic movie"/>
          <p:cNvPicPr preferRelativeResize="0">
            <a:picLocks noChangeAspect="1" noChangeArrowheads="1"/>
          </p:cNvPicPr>
          <p:nvPr/>
        </p:nvPicPr>
        <p:blipFill rotWithShape="1">
          <a:blip r:embed="rId9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 bwMode="auto">
          <a:xfrm>
            <a:off x="1709669" y="1385513"/>
            <a:ext cx="1119124" cy="1119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6 - pic movie"/>
          <p:cNvPicPr preferRelativeResize="0">
            <a:picLocks noChangeAspect="1" noChangeArrowheads="1"/>
          </p:cNvPicPr>
          <p:nvPr/>
        </p:nvPicPr>
        <p:blipFill rotWithShape="1">
          <a:blip r:embed="rId9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 bwMode="auto">
          <a:xfrm>
            <a:off x="545291" y="2551267"/>
            <a:ext cx="1119124" cy="1119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 bwMode="auto">
          <a:xfrm>
            <a:off x="2925459" y="1385513"/>
            <a:ext cx="2937701" cy="2284878"/>
          </a:xfrm>
          <a:prstGeom prst="rect">
            <a:avLst/>
          </a:prstGeom>
          <a:solidFill>
            <a:srgbClr val="DC3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6521" tIns="139891" rIns="186521" bIns="139891" numCol="1" rtlCol="0" anchor="b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00" kern="0" spc="-4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Big </a:t>
            </a:r>
          </a:p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00" kern="0" spc="-4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Data</a:t>
            </a:r>
            <a:endParaRPr lang="en-US" sz="2900" kern="0" spc="-4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4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100"/>
                            </p:stCondLst>
                            <p:childTnLst>
                              <p:par>
                                <p:cTn id="3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8" decel="10000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19" grpId="0" animBg="1"/>
      <p:bldP spid="20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84821"/>
            <a:ext cx="10515600" cy="871247"/>
          </a:xfrm>
        </p:spPr>
        <p:txBody>
          <a:bodyPr/>
          <a:lstStyle/>
          <a:p>
            <a:r>
              <a:rPr lang="en-US" dirty="0"/>
              <a:t>A powerful new way to work with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5713" y="1056068"/>
            <a:ext cx="11018949" cy="90152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505050"/>
                </a:solidFill>
              </a:rPr>
              <a:t>Self-service business intelligence and </a:t>
            </a:r>
            <a:r>
              <a:rPr lang="en-US" sz="2400" dirty="0" smtClean="0">
                <a:solidFill>
                  <a:srgbClr val="505050"/>
                </a:solidFill>
              </a:rPr>
              <a:t>analytics </a:t>
            </a:r>
            <a:r>
              <a:rPr lang="en-US" sz="2400" dirty="0">
                <a:solidFill>
                  <a:srgbClr val="505050"/>
                </a:solidFill>
              </a:rPr>
              <a:t>and the power of the cloud</a:t>
            </a:r>
          </a:p>
          <a:p>
            <a:endParaRPr lang="en-US" sz="2400" dirty="0"/>
          </a:p>
        </p:txBody>
      </p:sp>
      <p:grpSp>
        <p:nvGrpSpPr>
          <p:cNvPr id="16" name="Group 15"/>
          <p:cNvGrpSpPr/>
          <p:nvPr/>
        </p:nvGrpSpPr>
        <p:grpSpPr>
          <a:xfrm>
            <a:off x="445108" y="1699195"/>
            <a:ext cx="5106992" cy="4480270"/>
            <a:chOff x="274639" y="1690849"/>
            <a:chExt cx="5106992" cy="4480270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1416"/>
            <a:stretch/>
          </p:blipFill>
          <p:spPr>
            <a:xfrm>
              <a:off x="282248" y="1690851"/>
              <a:ext cx="5076455" cy="2753743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 bwMode="auto">
            <a:xfrm>
              <a:off x="274639" y="1690849"/>
              <a:ext cx="5084064" cy="960235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139891" numCol="1" rtlCol="0" anchor="t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spcBef>
                  <a:spcPts val="1200"/>
                </a:spcBef>
                <a:spcAft>
                  <a:spcPct val="0"/>
                </a:spcAft>
                <a:defRPr/>
              </a:pPr>
              <a:r>
                <a:rPr lang="en-US" sz="2600" b="1" kern="0" spc="-4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itchFamily="34" charset="0"/>
                </a:rPr>
                <a:t>Analyze in </a:t>
              </a:r>
              <a:r>
                <a:rPr lang="en-US" sz="2600" b="1" kern="0" spc="-4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itchFamily="34" charset="0"/>
                </a:rPr>
                <a:t>Excel, SQL </a:t>
              </a:r>
              <a:r>
                <a:rPr lang="en-US" sz="2600" b="1" kern="0" spc="-41" dirty="0" err="1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itchFamily="34" charset="0"/>
                </a:rPr>
                <a:t>db</a:t>
              </a:r>
              <a:r>
                <a:rPr lang="en-US" sz="2600" b="1" kern="0" spc="-4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itchFamily="34" charset="0"/>
                </a:rPr>
                <a:t>, Azure</a:t>
              </a:r>
              <a:endParaRPr lang="en-US" sz="2600" b="1" kern="0" spc="-4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endParaRPr>
            </a:p>
            <a:p>
              <a:pPr defTabSz="932290" fontAlgn="base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US" sz="2000" kern="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1 </a:t>
              </a:r>
              <a:r>
                <a:rPr lang="en-US" sz="20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Billion Office Users</a:t>
              </a:r>
            </a:p>
            <a:p>
              <a:pPr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100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endParaRPr>
            </a:p>
          </p:txBody>
        </p:sp>
        <p:sp>
          <p:nvSpPr>
            <p:cNvPr id="19" name="Rectangle 18"/>
            <p:cNvSpPr>
              <a:spLocks noChangeAspect="1"/>
            </p:cNvSpPr>
            <p:nvPr/>
          </p:nvSpPr>
          <p:spPr bwMode="auto">
            <a:xfrm>
              <a:off x="1996786" y="4525198"/>
              <a:ext cx="1645920" cy="1645921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t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836" kern="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Analyze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 flipH="1">
              <a:off x="2516817" y="5026572"/>
              <a:ext cx="598930" cy="829513"/>
              <a:chOff x="1458542" y="3645051"/>
              <a:chExt cx="800271" cy="1108369"/>
            </a:xfrm>
            <a:solidFill>
              <a:srgbClr val="FFFFFF"/>
            </a:solidFill>
          </p:grpSpPr>
          <p:sp>
            <p:nvSpPr>
              <p:cNvPr id="25" name="Rectangle 24"/>
              <p:cNvSpPr/>
              <p:nvPr/>
            </p:nvSpPr>
            <p:spPr>
              <a:xfrm>
                <a:off x="1458542" y="3645051"/>
                <a:ext cx="800271" cy="1108369"/>
              </a:xfrm>
              <a:custGeom>
                <a:avLst/>
                <a:gdLst/>
                <a:ahLst/>
                <a:cxnLst/>
                <a:rect l="l" t="t" r="r" b="b"/>
                <a:pathLst>
                  <a:path w="1518158" h="2102639">
                    <a:moveTo>
                      <a:pt x="664962" y="48"/>
                    </a:moveTo>
                    <a:cubicBezTo>
                      <a:pt x="990735" y="4734"/>
                      <a:pt x="1250103" y="195355"/>
                      <a:pt x="1311820" y="389100"/>
                    </a:cubicBezTo>
                    <a:cubicBezTo>
                      <a:pt x="1373537" y="582844"/>
                      <a:pt x="1310258" y="419568"/>
                      <a:pt x="1400880" y="656280"/>
                    </a:cubicBezTo>
                    <a:cubicBezTo>
                      <a:pt x="1411818" y="757059"/>
                      <a:pt x="1339163" y="742996"/>
                      <a:pt x="1358694" y="815651"/>
                    </a:cubicBezTo>
                    <a:cubicBezTo>
                      <a:pt x="1378225" y="888305"/>
                      <a:pt x="1514158" y="1033614"/>
                      <a:pt x="1518064" y="1092206"/>
                    </a:cubicBezTo>
                    <a:cubicBezTo>
                      <a:pt x="1521971" y="1150798"/>
                      <a:pt x="1404005" y="1135955"/>
                      <a:pt x="1382130" y="1167204"/>
                    </a:cubicBezTo>
                    <a:cubicBezTo>
                      <a:pt x="1360256" y="1198453"/>
                      <a:pt x="1390724" y="1255483"/>
                      <a:pt x="1386818" y="1279701"/>
                    </a:cubicBezTo>
                    <a:cubicBezTo>
                      <a:pt x="1382912" y="1303919"/>
                      <a:pt x="1361038" y="1303137"/>
                      <a:pt x="1358694" y="1312512"/>
                    </a:cubicBezTo>
                    <a:cubicBezTo>
                      <a:pt x="1356350" y="1321887"/>
                      <a:pt x="1382912" y="1320325"/>
                      <a:pt x="1372756" y="1335949"/>
                    </a:cubicBezTo>
                    <a:cubicBezTo>
                      <a:pt x="1362600" y="1351574"/>
                      <a:pt x="1313382" y="1359387"/>
                      <a:pt x="1297758" y="1406260"/>
                    </a:cubicBezTo>
                    <a:cubicBezTo>
                      <a:pt x="1282134" y="1453134"/>
                      <a:pt x="1409474" y="1567974"/>
                      <a:pt x="1279008" y="1617192"/>
                    </a:cubicBezTo>
                    <a:cubicBezTo>
                      <a:pt x="1148544" y="1666410"/>
                      <a:pt x="978235" y="1565631"/>
                      <a:pt x="936830" y="1645316"/>
                    </a:cubicBezTo>
                    <a:cubicBezTo>
                      <a:pt x="895425" y="1725002"/>
                      <a:pt x="843864" y="1864060"/>
                      <a:pt x="1030577" y="2095304"/>
                    </a:cubicBezTo>
                    <a:cubicBezTo>
                      <a:pt x="762616" y="2092179"/>
                      <a:pt x="244660" y="2113272"/>
                      <a:pt x="18105" y="2095304"/>
                    </a:cubicBezTo>
                    <a:cubicBezTo>
                      <a:pt x="72790" y="1927340"/>
                      <a:pt x="250130" y="1765625"/>
                      <a:pt x="247786" y="1537506"/>
                    </a:cubicBezTo>
                    <a:cubicBezTo>
                      <a:pt x="245442" y="1309387"/>
                      <a:pt x="51697" y="1118768"/>
                      <a:pt x="4042" y="726591"/>
                    </a:cubicBezTo>
                    <a:cubicBezTo>
                      <a:pt x="-20283" y="526408"/>
                      <a:pt x="67548" y="340065"/>
                      <a:pt x="203379" y="206900"/>
                    </a:cubicBezTo>
                    <a:lnTo>
                      <a:pt x="203379" y="206708"/>
                    </a:lnTo>
                    <a:lnTo>
                      <a:pt x="203605" y="206708"/>
                    </a:lnTo>
                    <a:cubicBezTo>
                      <a:pt x="332512" y="77755"/>
                      <a:pt x="505564" y="-2246"/>
                      <a:pt x="664962" y="48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26" name="Freeform 25"/>
              <p:cNvSpPr>
                <a:spLocks noEditPoints="1"/>
              </p:cNvSpPr>
              <p:nvPr/>
            </p:nvSpPr>
            <p:spPr bwMode="black">
              <a:xfrm rot="17995606">
                <a:off x="1558537" y="3764955"/>
                <a:ext cx="429800" cy="337492"/>
              </a:xfrm>
              <a:custGeom>
                <a:avLst/>
                <a:gdLst>
                  <a:gd name="T0" fmla="*/ 1304 w 1423"/>
                  <a:gd name="T1" fmla="*/ 301 h 1114"/>
                  <a:gd name="T2" fmla="*/ 1302 w 1423"/>
                  <a:gd name="T3" fmla="*/ 297 h 1114"/>
                  <a:gd name="T4" fmla="*/ 719 w 1423"/>
                  <a:gd name="T5" fmla="*/ 113 h 1114"/>
                  <a:gd name="T6" fmla="*/ 496 w 1423"/>
                  <a:gd name="T7" fmla="*/ 416 h 1114"/>
                  <a:gd name="T8" fmla="*/ 441 w 1423"/>
                  <a:gd name="T9" fmla="*/ 482 h 1114"/>
                  <a:gd name="T10" fmla="*/ 375 w 1423"/>
                  <a:gd name="T11" fmla="*/ 536 h 1114"/>
                  <a:gd name="T12" fmla="*/ 290 w 1423"/>
                  <a:gd name="T13" fmla="*/ 648 h 1114"/>
                  <a:gd name="T14" fmla="*/ 470 w 1423"/>
                  <a:gd name="T15" fmla="*/ 973 h 1114"/>
                  <a:gd name="T16" fmla="*/ 610 w 1423"/>
                  <a:gd name="T17" fmla="*/ 960 h 1114"/>
                  <a:gd name="T18" fmla="*/ 775 w 1423"/>
                  <a:gd name="T19" fmla="*/ 921 h 1114"/>
                  <a:gd name="T20" fmla="*/ 932 w 1423"/>
                  <a:gd name="T21" fmla="*/ 927 h 1114"/>
                  <a:gd name="T22" fmla="*/ 1151 w 1423"/>
                  <a:gd name="T23" fmla="*/ 893 h 1114"/>
                  <a:gd name="T24" fmla="*/ 1304 w 1423"/>
                  <a:gd name="T25" fmla="*/ 301 h 1114"/>
                  <a:gd name="T26" fmla="*/ 1024 w 1423"/>
                  <a:gd name="T27" fmla="*/ 311 h 1114"/>
                  <a:gd name="T28" fmla="*/ 1024 w 1423"/>
                  <a:gd name="T29" fmla="*/ 311 h 1114"/>
                  <a:gd name="T30" fmla="*/ 873 w 1423"/>
                  <a:gd name="T31" fmla="*/ 299 h 1114"/>
                  <a:gd name="T32" fmla="*/ 873 w 1423"/>
                  <a:gd name="T33" fmla="*/ 299 h 1114"/>
                  <a:gd name="T34" fmla="*/ 799 w 1423"/>
                  <a:gd name="T35" fmla="*/ 278 h 1114"/>
                  <a:gd name="T36" fmla="*/ 821 w 1423"/>
                  <a:gd name="T37" fmla="*/ 203 h 1114"/>
                  <a:gd name="T38" fmla="*/ 828 w 1423"/>
                  <a:gd name="T39" fmla="*/ 200 h 1114"/>
                  <a:gd name="T40" fmla="*/ 1101 w 1423"/>
                  <a:gd name="T41" fmla="*/ 234 h 1114"/>
                  <a:gd name="T42" fmla="*/ 1108 w 1423"/>
                  <a:gd name="T43" fmla="*/ 244 h 1114"/>
                  <a:gd name="T44" fmla="*/ 1087 w 1423"/>
                  <a:gd name="T45" fmla="*/ 318 h 1114"/>
                  <a:gd name="T46" fmla="*/ 1024 w 1423"/>
                  <a:gd name="T47" fmla="*/ 311 h 1114"/>
                  <a:gd name="T48" fmla="*/ 14 w 1423"/>
                  <a:gd name="T49" fmla="*/ 967 h 1114"/>
                  <a:gd name="T50" fmla="*/ 53 w 1423"/>
                  <a:gd name="T51" fmla="*/ 1037 h 1114"/>
                  <a:gd name="T52" fmla="*/ 115 w 1423"/>
                  <a:gd name="T53" fmla="*/ 1064 h 1114"/>
                  <a:gd name="T54" fmla="*/ 24 w 1423"/>
                  <a:gd name="T55" fmla="*/ 900 h 1114"/>
                  <a:gd name="T56" fmla="*/ 14 w 1423"/>
                  <a:gd name="T57" fmla="*/ 967 h 1114"/>
                  <a:gd name="T58" fmla="*/ 400 w 1423"/>
                  <a:gd name="T59" fmla="*/ 959 h 1114"/>
                  <a:gd name="T60" fmla="*/ 265 w 1423"/>
                  <a:gd name="T61" fmla="*/ 714 h 1114"/>
                  <a:gd name="T62" fmla="*/ 190 w 1423"/>
                  <a:gd name="T63" fmla="*/ 686 h 1114"/>
                  <a:gd name="T64" fmla="*/ 175 w 1423"/>
                  <a:gd name="T65" fmla="*/ 764 h 1114"/>
                  <a:gd name="T66" fmla="*/ 310 w 1423"/>
                  <a:gd name="T67" fmla="*/ 1008 h 1114"/>
                  <a:gd name="T68" fmla="*/ 385 w 1423"/>
                  <a:gd name="T69" fmla="*/ 1037 h 1114"/>
                  <a:gd name="T70" fmla="*/ 400 w 1423"/>
                  <a:gd name="T71" fmla="*/ 959 h 1114"/>
                  <a:gd name="T72" fmla="*/ 266 w 1423"/>
                  <a:gd name="T73" fmla="*/ 1026 h 1114"/>
                  <a:gd name="T74" fmla="*/ 136 w 1423"/>
                  <a:gd name="T75" fmla="*/ 792 h 1114"/>
                  <a:gd name="T76" fmla="*/ 65 w 1423"/>
                  <a:gd name="T77" fmla="*/ 764 h 1114"/>
                  <a:gd name="T78" fmla="*/ 50 w 1423"/>
                  <a:gd name="T79" fmla="*/ 840 h 1114"/>
                  <a:gd name="T80" fmla="*/ 180 w 1423"/>
                  <a:gd name="T81" fmla="*/ 1074 h 1114"/>
                  <a:gd name="T82" fmla="*/ 251 w 1423"/>
                  <a:gd name="T83" fmla="*/ 1101 h 1114"/>
                  <a:gd name="T84" fmla="*/ 266 w 1423"/>
                  <a:gd name="T85" fmla="*/ 1026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23" h="1114">
                    <a:moveTo>
                      <a:pt x="1304" y="301"/>
                    </a:moveTo>
                    <a:cubicBezTo>
                      <a:pt x="1303" y="298"/>
                      <a:pt x="1304" y="300"/>
                      <a:pt x="1302" y="297"/>
                    </a:cubicBezTo>
                    <a:cubicBezTo>
                      <a:pt x="1184" y="83"/>
                      <a:pt x="922" y="0"/>
                      <a:pt x="719" y="113"/>
                    </a:cubicBezTo>
                    <a:cubicBezTo>
                      <a:pt x="602" y="177"/>
                      <a:pt x="570" y="311"/>
                      <a:pt x="496" y="416"/>
                    </a:cubicBezTo>
                    <a:cubicBezTo>
                      <a:pt x="476" y="444"/>
                      <a:pt x="458" y="465"/>
                      <a:pt x="441" y="482"/>
                    </a:cubicBezTo>
                    <a:cubicBezTo>
                      <a:pt x="418" y="504"/>
                      <a:pt x="397" y="520"/>
                      <a:pt x="375" y="536"/>
                    </a:cubicBezTo>
                    <a:cubicBezTo>
                      <a:pt x="334" y="566"/>
                      <a:pt x="296" y="593"/>
                      <a:pt x="290" y="648"/>
                    </a:cubicBezTo>
                    <a:cubicBezTo>
                      <a:pt x="470" y="973"/>
                      <a:pt x="470" y="973"/>
                      <a:pt x="470" y="973"/>
                    </a:cubicBezTo>
                    <a:cubicBezTo>
                      <a:pt x="519" y="997"/>
                      <a:pt x="563" y="978"/>
                      <a:pt x="610" y="960"/>
                    </a:cubicBezTo>
                    <a:cubicBezTo>
                      <a:pt x="654" y="943"/>
                      <a:pt x="697" y="925"/>
                      <a:pt x="775" y="921"/>
                    </a:cubicBezTo>
                    <a:cubicBezTo>
                      <a:pt x="827" y="918"/>
                      <a:pt x="880" y="924"/>
                      <a:pt x="932" y="927"/>
                    </a:cubicBezTo>
                    <a:cubicBezTo>
                      <a:pt x="1008" y="932"/>
                      <a:pt x="1082" y="931"/>
                      <a:pt x="1151" y="893"/>
                    </a:cubicBezTo>
                    <a:cubicBezTo>
                      <a:pt x="1354" y="780"/>
                      <a:pt x="1423" y="515"/>
                      <a:pt x="1304" y="301"/>
                    </a:cubicBezTo>
                    <a:close/>
                    <a:moveTo>
                      <a:pt x="1024" y="311"/>
                    </a:moveTo>
                    <a:cubicBezTo>
                      <a:pt x="1024" y="311"/>
                      <a:pt x="1024" y="311"/>
                      <a:pt x="1024" y="311"/>
                    </a:cubicBezTo>
                    <a:cubicBezTo>
                      <a:pt x="983" y="270"/>
                      <a:pt x="917" y="279"/>
                      <a:pt x="873" y="299"/>
                    </a:cubicBezTo>
                    <a:cubicBezTo>
                      <a:pt x="873" y="299"/>
                      <a:pt x="873" y="299"/>
                      <a:pt x="873" y="299"/>
                    </a:cubicBezTo>
                    <a:cubicBezTo>
                      <a:pt x="847" y="313"/>
                      <a:pt x="814" y="304"/>
                      <a:pt x="799" y="278"/>
                    </a:cubicBezTo>
                    <a:cubicBezTo>
                      <a:pt x="785" y="251"/>
                      <a:pt x="794" y="218"/>
                      <a:pt x="821" y="203"/>
                    </a:cubicBezTo>
                    <a:cubicBezTo>
                      <a:pt x="823" y="202"/>
                      <a:pt x="828" y="200"/>
                      <a:pt x="828" y="200"/>
                    </a:cubicBezTo>
                    <a:cubicBezTo>
                      <a:pt x="927" y="155"/>
                      <a:pt x="1035" y="168"/>
                      <a:pt x="1101" y="234"/>
                    </a:cubicBezTo>
                    <a:cubicBezTo>
                      <a:pt x="1101" y="234"/>
                      <a:pt x="1106" y="240"/>
                      <a:pt x="1108" y="244"/>
                    </a:cubicBezTo>
                    <a:cubicBezTo>
                      <a:pt x="1122" y="270"/>
                      <a:pt x="1113" y="303"/>
                      <a:pt x="1087" y="318"/>
                    </a:cubicBezTo>
                    <a:cubicBezTo>
                      <a:pt x="1066" y="329"/>
                      <a:pt x="1041" y="326"/>
                      <a:pt x="1024" y="311"/>
                    </a:cubicBezTo>
                    <a:close/>
                    <a:moveTo>
                      <a:pt x="14" y="967"/>
                    </a:moveTo>
                    <a:cubicBezTo>
                      <a:pt x="53" y="1037"/>
                      <a:pt x="53" y="1037"/>
                      <a:pt x="53" y="1037"/>
                    </a:cubicBezTo>
                    <a:cubicBezTo>
                      <a:pt x="67" y="1062"/>
                      <a:pt x="94" y="1074"/>
                      <a:pt x="115" y="1064"/>
                    </a:cubicBezTo>
                    <a:cubicBezTo>
                      <a:pt x="24" y="900"/>
                      <a:pt x="24" y="900"/>
                      <a:pt x="24" y="900"/>
                    </a:cubicBezTo>
                    <a:cubicBezTo>
                      <a:pt x="5" y="912"/>
                      <a:pt x="0" y="941"/>
                      <a:pt x="14" y="967"/>
                    </a:cubicBezTo>
                    <a:close/>
                    <a:moveTo>
                      <a:pt x="400" y="959"/>
                    </a:moveTo>
                    <a:cubicBezTo>
                      <a:pt x="265" y="714"/>
                      <a:pt x="265" y="714"/>
                      <a:pt x="265" y="714"/>
                    </a:cubicBezTo>
                    <a:cubicBezTo>
                      <a:pt x="248" y="685"/>
                      <a:pt x="215" y="672"/>
                      <a:pt x="190" y="686"/>
                    </a:cubicBezTo>
                    <a:cubicBezTo>
                      <a:pt x="166" y="699"/>
                      <a:pt x="159" y="734"/>
                      <a:pt x="175" y="764"/>
                    </a:cubicBezTo>
                    <a:cubicBezTo>
                      <a:pt x="310" y="1008"/>
                      <a:pt x="310" y="1008"/>
                      <a:pt x="310" y="1008"/>
                    </a:cubicBezTo>
                    <a:cubicBezTo>
                      <a:pt x="327" y="1038"/>
                      <a:pt x="360" y="1051"/>
                      <a:pt x="385" y="1037"/>
                    </a:cubicBezTo>
                    <a:cubicBezTo>
                      <a:pt x="410" y="1023"/>
                      <a:pt x="416" y="988"/>
                      <a:pt x="400" y="959"/>
                    </a:cubicBezTo>
                    <a:close/>
                    <a:moveTo>
                      <a:pt x="266" y="1026"/>
                    </a:moveTo>
                    <a:cubicBezTo>
                      <a:pt x="136" y="792"/>
                      <a:pt x="136" y="792"/>
                      <a:pt x="136" y="792"/>
                    </a:cubicBezTo>
                    <a:cubicBezTo>
                      <a:pt x="121" y="764"/>
                      <a:pt x="89" y="751"/>
                      <a:pt x="65" y="764"/>
                    </a:cubicBezTo>
                    <a:cubicBezTo>
                      <a:pt x="41" y="778"/>
                      <a:pt x="35" y="811"/>
                      <a:pt x="50" y="840"/>
                    </a:cubicBezTo>
                    <a:cubicBezTo>
                      <a:pt x="180" y="1074"/>
                      <a:pt x="180" y="1074"/>
                      <a:pt x="180" y="1074"/>
                    </a:cubicBezTo>
                    <a:cubicBezTo>
                      <a:pt x="196" y="1102"/>
                      <a:pt x="228" y="1114"/>
                      <a:pt x="251" y="1101"/>
                    </a:cubicBezTo>
                    <a:cubicBezTo>
                      <a:pt x="275" y="1088"/>
                      <a:pt x="282" y="1055"/>
                      <a:pt x="266" y="1026"/>
                    </a:cubicBezTo>
                    <a:close/>
                  </a:path>
                </a:pathLst>
              </a:custGeom>
              <a:solidFill>
                <a:srgbClr val="7FB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60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21" name="Rectangle 20"/>
            <p:cNvSpPr>
              <a:spLocks noChangeAspect="1"/>
            </p:cNvSpPr>
            <p:nvPr/>
          </p:nvSpPr>
          <p:spPr bwMode="auto">
            <a:xfrm>
              <a:off x="3735711" y="4525198"/>
              <a:ext cx="1645920" cy="1645921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t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836" kern="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Visualize</a:t>
              </a:r>
            </a:p>
          </p:txBody>
        </p:sp>
        <p:sp>
          <p:nvSpPr>
            <p:cNvPr id="22" name="Freeform 21"/>
            <p:cNvSpPr/>
            <p:nvPr>
              <p:custDataLst>
                <p:tags r:id="rId3"/>
              </p:custDataLst>
            </p:nvPr>
          </p:nvSpPr>
          <p:spPr>
            <a:xfrm>
              <a:off x="4150261" y="5016918"/>
              <a:ext cx="787338" cy="793562"/>
            </a:xfrm>
            <a:custGeom>
              <a:avLst/>
              <a:gdLst/>
              <a:ahLst/>
              <a:cxnLst/>
              <a:rect l="l" t="t" r="r" b="b"/>
              <a:pathLst>
                <a:path w="1188720" h="1198117">
                  <a:moveTo>
                    <a:pt x="0" y="1179829"/>
                  </a:moveTo>
                  <a:lnTo>
                    <a:pt x="1188720" y="1179829"/>
                  </a:lnTo>
                  <a:lnTo>
                    <a:pt x="1188720" y="1198117"/>
                  </a:lnTo>
                  <a:lnTo>
                    <a:pt x="0" y="1198117"/>
                  </a:lnTo>
                  <a:close/>
                  <a:moveTo>
                    <a:pt x="85725" y="629228"/>
                  </a:moveTo>
                  <a:lnTo>
                    <a:pt x="228600" y="629228"/>
                  </a:lnTo>
                  <a:lnTo>
                    <a:pt x="228600" y="1174749"/>
                  </a:lnTo>
                  <a:lnTo>
                    <a:pt x="85725" y="1174749"/>
                  </a:lnTo>
                  <a:close/>
                  <a:moveTo>
                    <a:pt x="160954" y="560521"/>
                  </a:moveTo>
                  <a:lnTo>
                    <a:pt x="134893" y="565433"/>
                  </a:lnTo>
                  <a:lnTo>
                    <a:pt x="135875" y="570646"/>
                  </a:lnTo>
                  <a:lnTo>
                    <a:pt x="161936" y="565734"/>
                  </a:lnTo>
                  <a:close/>
                  <a:moveTo>
                    <a:pt x="200045" y="527408"/>
                  </a:moveTo>
                  <a:lnTo>
                    <a:pt x="95801" y="547055"/>
                  </a:lnTo>
                  <a:lnTo>
                    <a:pt x="96784" y="552268"/>
                  </a:lnTo>
                  <a:lnTo>
                    <a:pt x="201028" y="532620"/>
                  </a:lnTo>
                  <a:close/>
                  <a:moveTo>
                    <a:pt x="193530" y="502890"/>
                  </a:moveTo>
                  <a:lnTo>
                    <a:pt x="102316" y="520082"/>
                  </a:lnTo>
                  <a:lnTo>
                    <a:pt x="103299" y="525294"/>
                  </a:lnTo>
                  <a:lnTo>
                    <a:pt x="194512" y="508102"/>
                  </a:lnTo>
                  <a:close/>
                  <a:moveTo>
                    <a:pt x="180500" y="479600"/>
                  </a:moveTo>
                  <a:lnTo>
                    <a:pt x="115347" y="491880"/>
                  </a:lnTo>
                  <a:lnTo>
                    <a:pt x="116329" y="497092"/>
                  </a:lnTo>
                  <a:lnTo>
                    <a:pt x="181482" y="484813"/>
                  </a:lnTo>
                  <a:close/>
                  <a:moveTo>
                    <a:pt x="378883" y="434974"/>
                  </a:moveTo>
                  <a:lnTo>
                    <a:pt x="521758" y="434974"/>
                  </a:lnTo>
                  <a:lnTo>
                    <a:pt x="521758" y="1174749"/>
                  </a:lnTo>
                  <a:lnTo>
                    <a:pt x="378883" y="1174749"/>
                  </a:lnTo>
                  <a:close/>
                  <a:moveTo>
                    <a:pt x="672041" y="225425"/>
                  </a:moveTo>
                  <a:lnTo>
                    <a:pt x="814916" y="225425"/>
                  </a:lnTo>
                  <a:lnTo>
                    <a:pt x="814916" y="1174749"/>
                  </a:lnTo>
                  <a:lnTo>
                    <a:pt x="672041" y="1174749"/>
                  </a:lnTo>
                  <a:close/>
                  <a:moveTo>
                    <a:pt x="144046" y="189143"/>
                  </a:moveTo>
                  <a:cubicBezTo>
                    <a:pt x="151107" y="189037"/>
                    <a:pt x="156647" y="189144"/>
                    <a:pt x="164251" y="190420"/>
                  </a:cubicBezTo>
                  <a:cubicBezTo>
                    <a:pt x="171855" y="191696"/>
                    <a:pt x="181740" y="194037"/>
                    <a:pt x="189670" y="196802"/>
                  </a:cubicBezTo>
                  <a:cubicBezTo>
                    <a:pt x="197599" y="199568"/>
                    <a:pt x="204877" y="202865"/>
                    <a:pt x="211830" y="207013"/>
                  </a:cubicBezTo>
                  <a:cubicBezTo>
                    <a:pt x="218782" y="211162"/>
                    <a:pt x="225516" y="216161"/>
                    <a:pt x="231382" y="221693"/>
                  </a:cubicBezTo>
                  <a:cubicBezTo>
                    <a:pt x="237248" y="227224"/>
                    <a:pt x="242679" y="233712"/>
                    <a:pt x="247025" y="240201"/>
                  </a:cubicBezTo>
                  <a:cubicBezTo>
                    <a:pt x="251370" y="246689"/>
                    <a:pt x="254411" y="253923"/>
                    <a:pt x="257453" y="260624"/>
                  </a:cubicBezTo>
                  <a:cubicBezTo>
                    <a:pt x="260495" y="267325"/>
                    <a:pt x="263319" y="273282"/>
                    <a:pt x="265274" y="280409"/>
                  </a:cubicBezTo>
                  <a:cubicBezTo>
                    <a:pt x="267230" y="287536"/>
                    <a:pt x="268967" y="295194"/>
                    <a:pt x="269185" y="303385"/>
                  </a:cubicBezTo>
                  <a:cubicBezTo>
                    <a:pt x="269402" y="311575"/>
                    <a:pt x="268641" y="320510"/>
                    <a:pt x="266578" y="329552"/>
                  </a:cubicBezTo>
                  <a:cubicBezTo>
                    <a:pt x="264514" y="338593"/>
                    <a:pt x="261146" y="347528"/>
                    <a:pt x="256801" y="357633"/>
                  </a:cubicBezTo>
                  <a:cubicBezTo>
                    <a:pt x="252456" y="367738"/>
                    <a:pt x="246373" y="378375"/>
                    <a:pt x="240507" y="390182"/>
                  </a:cubicBezTo>
                  <a:cubicBezTo>
                    <a:pt x="234641" y="401989"/>
                    <a:pt x="226277" y="418902"/>
                    <a:pt x="221606" y="428476"/>
                  </a:cubicBezTo>
                  <a:cubicBezTo>
                    <a:pt x="216935" y="438049"/>
                    <a:pt x="213568" y="443048"/>
                    <a:pt x="212481" y="447622"/>
                  </a:cubicBezTo>
                  <a:cubicBezTo>
                    <a:pt x="211395" y="452196"/>
                    <a:pt x="215414" y="453260"/>
                    <a:pt x="215088" y="455919"/>
                  </a:cubicBezTo>
                  <a:cubicBezTo>
                    <a:pt x="214762" y="458578"/>
                    <a:pt x="210743" y="461025"/>
                    <a:pt x="210526" y="463578"/>
                  </a:cubicBezTo>
                  <a:cubicBezTo>
                    <a:pt x="210309" y="466130"/>
                    <a:pt x="214219" y="467620"/>
                    <a:pt x="213785" y="471236"/>
                  </a:cubicBezTo>
                  <a:lnTo>
                    <a:pt x="207919" y="485277"/>
                  </a:lnTo>
                  <a:cubicBezTo>
                    <a:pt x="207267" y="489213"/>
                    <a:pt x="209005" y="491766"/>
                    <a:pt x="209874" y="494850"/>
                  </a:cubicBezTo>
                  <a:cubicBezTo>
                    <a:pt x="210743" y="497935"/>
                    <a:pt x="213567" y="499743"/>
                    <a:pt x="213133" y="503785"/>
                  </a:cubicBezTo>
                  <a:cubicBezTo>
                    <a:pt x="212698" y="507827"/>
                    <a:pt x="207158" y="514954"/>
                    <a:pt x="207267" y="519102"/>
                  </a:cubicBezTo>
                  <a:cubicBezTo>
                    <a:pt x="207376" y="523251"/>
                    <a:pt x="213024" y="525166"/>
                    <a:pt x="213785" y="528676"/>
                  </a:cubicBezTo>
                  <a:lnTo>
                    <a:pt x="211830" y="540164"/>
                  </a:lnTo>
                  <a:cubicBezTo>
                    <a:pt x="210743" y="542929"/>
                    <a:pt x="207484" y="543461"/>
                    <a:pt x="207267" y="545270"/>
                  </a:cubicBezTo>
                  <a:cubicBezTo>
                    <a:pt x="207050" y="547078"/>
                    <a:pt x="209440" y="548780"/>
                    <a:pt x="210526" y="551013"/>
                  </a:cubicBezTo>
                  <a:cubicBezTo>
                    <a:pt x="211612" y="553247"/>
                    <a:pt x="213676" y="555587"/>
                    <a:pt x="213785" y="558672"/>
                  </a:cubicBezTo>
                  <a:cubicBezTo>
                    <a:pt x="213893" y="561757"/>
                    <a:pt x="213242" y="566437"/>
                    <a:pt x="211178" y="569522"/>
                  </a:cubicBezTo>
                  <a:cubicBezTo>
                    <a:pt x="209114" y="572606"/>
                    <a:pt x="207593" y="574628"/>
                    <a:pt x="201401" y="577180"/>
                  </a:cubicBezTo>
                  <a:cubicBezTo>
                    <a:pt x="195209" y="579733"/>
                    <a:pt x="179024" y="582606"/>
                    <a:pt x="174027" y="584839"/>
                  </a:cubicBezTo>
                  <a:cubicBezTo>
                    <a:pt x="169031" y="587073"/>
                    <a:pt x="172724" y="588137"/>
                    <a:pt x="171420" y="590583"/>
                  </a:cubicBezTo>
                  <a:cubicBezTo>
                    <a:pt x="170117" y="593030"/>
                    <a:pt x="169248" y="597072"/>
                    <a:pt x="166206" y="599518"/>
                  </a:cubicBezTo>
                  <a:cubicBezTo>
                    <a:pt x="163164" y="601964"/>
                    <a:pt x="157733" y="604198"/>
                    <a:pt x="153171" y="605262"/>
                  </a:cubicBezTo>
                  <a:cubicBezTo>
                    <a:pt x="148608" y="606326"/>
                    <a:pt x="142960" y="606645"/>
                    <a:pt x="138832" y="605900"/>
                  </a:cubicBezTo>
                  <a:cubicBezTo>
                    <a:pt x="134704" y="605156"/>
                    <a:pt x="131011" y="602603"/>
                    <a:pt x="128404" y="600794"/>
                  </a:cubicBezTo>
                  <a:cubicBezTo>
                    <a:pt x="125797" y="598986"/>
                    <a:pt x="124276" y="597391"/>
                    <a:pt x="123189" y="595051"/>
                  </a:cubicBezTo>
                  <a:lnTo>
                    <a:pt x="121886" y="586754"/>
                  </a:lnTo>
                  <a:cubicBezTo>
                    <a:pt x="118084" y="584626"/>
                    <a:pt x="110806" y="581648"/>
                    <a:pt x="110806" y="581648"/>
                  </a:cubicBezTo>
                  <a:cubicBezTo>
                    <a:pt x="107004" y="580052"/>
                    <a:pt x="100704" y="577712"/>
                    <a:pt x="97119" y="575904"/>
                  </a:cubicBezTo>
                  <a:cubicBezTo>
                    <a:pt x="93534" y="574096"/>
                    <a:pt x="91471" y="572713"/>
                    <a:pt x="89298" y="570798"/>
                  </a:cubicBezTo>
                  <a:cubicBezTo>
                    <a:pt x="87125" y="568883"/>
                    <a:pt x="84844" y="566756"/>
                    <a:pt x="84084" y="564416"/>
                  </a:cubicBezTo>
                  <a:cubicBezTo>
                    <a:pt x="83324" y="562076"/>
                    <a:pt x="83975" y="559417"/>
                    <a:pt x="84736" y="556757"/>
                  </a:cubicBezTo>
                  <a:lnTo>
                    <a:pt x="88646" y="548461"/>
                  </a:lnTo>
                  <a:cubicBezTo>
                    <a:pt x="88972" y="546546"/>
                    <a:pt x="87668" y="546759"/>
                    <a:pt x="86691" y="545270"/>
                  </a:cubicBezTo>
                  <a:cubicBezTo>
                    <a:pt x="85713" y="543780"/>
                    <a:pt x="83650" y="541866"/>
                    <a:pt x="82780" y="539526"/>
                  </a:cubicBezTo>
                  <a:cubicBezTo>
                    <a:pt x="81911" y="537185"/>
                    <a:pt x="81151" y="533994"/>
                    <a:pt x="81477" y="531229"/>
                  </a:cubicBezTo>
                  <a:cubicBezTo>
                    <a:pt x="81803" y="528463"/>
                    <a:pt x="83758" y="525166"/>
                    <a:pt x="84736" y="522932"/>
                  </a:cubicBezTo>
                  <a:cubicBezTo>
                    <a:pt x="85713" y="520698"/>
                    <a:pt x="87451" y="519315"/>
                    <a:pt x="87343" y="517826"/>
                  </a:cubicBezTo>
                  <a:cubicBezTo>
                    <a:pt x="87234" y="516337"/>
                    <a:pt x="85061" y="515699"/>
                    <a:pt x="84084" y="513997"/>
                  </a:cubicBezTo>
                  <a:cubicBezTo>
                    <a:pt x="83106" y="512295"/>
                    <a:pt x="81803" y="509955"/>
                    <a:pt x="81477" y="507615"/>
                  </a:cubicBezTo>
                  <a:cubicBezTo>
                    <a:pt x="81151" y="505274"/>
                    <a:pt x="81042" y="502615"/>
                    <a:pt x="82129" y="499956"/>
                  </a:cubicBezTo>
                  <a:lnTo>
                    <a:pt x="87994" y="491659"/>
                  </a:lnTo>
                  <a:cubicBezTo>
                    <a:pt x="88646" y="489319"/>
                    <a:pt x="87125" y="488681"/>
                    <a:pt x="86039" y="485915"/>
                  </a:cubicBezTo>
                  <a:cubicBezTo>
                    <a:pt x="84953" y="483150"/>
                    <a:pt x="82346" y="478469"/>
                    <a:pt x="81477" y="475065"/>
                  </a:cubicBezTo>
                  <a:cubicBezTo>
                    <a:pt x="80608" y="471662"/>
                    <a:pt x="80282" y="468790"/>
                    <a:pt x="80825" y="465492"/>
                  </a:cubicBezTo>
                  <a:cubicBezTo>
                    <a:pt x="81368" y="462195"/>
                    <a:pt x="86148" y="458259"/>
                    <a:pt x="85387" y="453366"/>
                  </a:cubicBezTo>
                  <a:cubicBezTo>
                    <a:pt x="84627" y="448473"/>
                    <a:pt x="80173" y="444005"/>
                    <a:pt x="76263" y="436134"/>
                  </a:cubicBezTo>
                  <a:cubicBezTo>
                    <a:pt x="72352" y="428263"/>
                    <a:pt x="68116" y="418583"/>
                    <a:pt x="61924" y="406138"/>
                  </a:cubicBezTo>
                  <a:cubicBezTo>
                    <a:pt x="55732" y="393693"/>
                    <a:pt x="44761" y="373695"/>
                    <a:pt x="39112" y="361463"/>
                  </a:cubicBezTo>
                  <a:cubicBezTo>
                    <a:pt x="33464" y="349230"/>
                    <a:pt x="30313" y="342635"/>
                    <a:pt x="28032" y="332743"/>
                  </a:cubicBezTo>
                  <a:cubicBezTo>
                    <a:pt x="25751" y="322850"/>
                    <a:pt x="24664" y="313064"/>
                    <a:pt x="25425" y="302108"/>
                  </a:cubicBezTo>
                  <a:cubicBezTo>
                    <a:pt x="26186" y="291152"/>
                    <a:pt x="29118" y="277324"/>
                    <a:pt x="32595" y="267006"/>
                  </a:cubicBezTo>
                  <a:cubicBezTo>
                    <a:pt x="36071" y="256688"/>
                    <a:pt x="40525" y="248498"/>
                    <a:pt x="46282" y="240201"/>
                  </a:cubicBezTo>
                  <a:cubicBezTo>
                    <a:pt x="52039" y="231904"/>
                    <a:pt x="58991" y="223820"/>
                    <a:pt x="67138" y="217225"/>
                  </a:cubicBezTo>
                  <a:cubicBezTo>
                    <a:pt x="75285" y="210630"/>
                    <a:pt x="86039" y="204992"/>
                    <a:pt x="95164" y="200631"/>
                  </a:cubicBezTo>
                  <a:cubicBezTo>
                    <a:pt x="104289" y="196270"/>
                    <a:pt x="113739" y="192973"/>
                    <a:pt x="121886" y="191058"/>
                  </a:cubicBezTo>
                  <a:cubicBezTo>
                    <a:pt x="130033" y="189143"/>
                    <a:pt x="136985" y="189250"/>
                    <a:pt x="144046" y="189143"/>
                  </a:cubicBezTo>
                  <a:close/>
                  <a:moveTo>
                    <a:pt x="965198" y="0"/>
                  </a:moveTo>
                  <a:lnTo>
                    <a:pt x="1108073" y="0"/>
                  </a:lnTo>
                  <a:lnTo>
                    <a:pt x="1108073" y="1174749"/>
                  </a:lnTo>
                  <a:lnTo>
                    <a:pt x="965198" y="1174749"/>
                  </a:lnTo>
                  <a:close/>
                </a:path>
              </a:pathLst>
            </a:custGeom>
            <a:solidFill>
              <a:srgbClr val="FFFFFF"/>
            </a:soli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836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</a:endParaRPr>
            </a:p>
          </p:txBody>
        </p:sp>
        <p:sp>
          <p:nvSpPr>
            <p:cNvPr id="23" name="Rectangle 22"/>
            <p:cNvSpPr>
              <a:spLocks noChangeAspect="1"/>
            </p:cNvSpPr>
            <p:nvPr/>
          </p:nvSpPr>
          <p:spPr bwMode="auto">
            <a:xfrm>
              <a:off x="282247" y="4525198"/>
              <a:ext cx="1645920" cy="1645921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t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36" kern="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iscover</a:t>
              </a:r>
              <a:endParaRPr lang="en-US" sz="183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black">
            <a:xfrm>
              <a:off x="611804" y="4988989"/>
              <a:ext cx="828137" cy="827921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600" kern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7" name="Rectangle 26"/>
          <p:cNvSpPr/>
          <p:nvPr/>
        </p:nvSpPr>
        <p:spPr bwMode="auto">
          <a:xfrm>
            <a:off x="452716" y="6356502"/>
            <a:ext cx="11466476" cy="501498"/>
          </a:xfrm>
          <a:prstGeom prst="rect">
            <a:avLst/>
          </a:prstGeom>
          <a:solidFill>
            <a:srgbClr val="696969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calable  |  Manageable  |  Trusted  </a:t>
            </a:r>
            <a:endParaRPr lang="en-US" sz="2400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ross 27"/>
          <p:cNvSpPr/>
          <p:nvPr/>
        </p:nvSpPr>
        <p:spPr bwMode="auto">
          <a:xfrm>
            <a:off x="5806243" y="3578274"/>
            <a:ext cx="798760" cy="798152"/>
          </a:xfrm>
          <a:prstGeom prst="plus">
            <a:avLst>
              <a:gd name="adj" fmla="val 40783"/>
            </a:avLst>
          </a:prstGeom>
          <a:solidFill>
            <a:srgbClr val="696969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kern="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37089" y="1749916"/>
            <a:ext cx="5082103" cy="4480267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 bwMode="black">
          <a:xfrm>
            <a:off x="9105058" y="5280214"/>
            <a:ext cx="770802" cy="299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1900" b="1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Q</a:t>
            </a:r>
            <a:r>
              <a:rPr lang="en-US" sz="1900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&amp;</a:t>
            </a:r>
            <a:r>
              <a:rPr lang="en-US" sz="1900" b="1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A</a:t>
            </a:r>
            <a:endParaRPr lang="en-US" sz="1900" kern="0" spc="-135" dirty="0" smtClean="0">
              <a:gradFill>
                <a:gsLst>
                  <a:gs pos="0">
                    <a:srgbClr val="FF8C00"/>
                  </a:gs>
                  <a:gs pos="98000">
                    <a:srgbClr val="FF8C00"/>
                  </a:gs>
                </a:gsLst>
                <a:lin ang="5400000" scaled="0"/>
              </a:gra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34" name="Freeform 33"/>
          <p:cNvSpPr/>
          <p:nvPr>
            <p:custDataLst>
              <p:tags r:id="rId1"/>
            </p:custDataLst>
          </p:nvPr>
        </p:nvSpPr>
        <p:spPr>
          <a:xfrm>
            <a:off x="10912964" y="5260889"/>
            <a:ext cx="333363" cy="335998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3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8127" y="1773082"/>
            <a:ext cx="5069008" cy="2745399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 bwMode="auto">
          <a:xfrm>
            <a:off x="6825715" y="1764738"/>
            <a:ext cx="5081420" cy="960234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500" b="1" kern="0" spc="-4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Collaborate in Power BI for Office 365</a:t>
            </a:r>
            <a:endParaRPr lang="en-US" sz="3100" b="1" kern="0" spc="-41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  <a:p>
            <a:pPr defTabSz="93229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1 </a:t>
            </a: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in 4 </a:t>
            </a:r>
            <a:r>
              <a:rPr lang="en-US" sz="20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enterprise customers on Office </a:t>
            </a: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365</a:t>
            </a:r>
          </a:p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100" kern="0" spc="-4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sp>
        <p:nvSpPr>
          <p:cNvPr id="37" name="Rectangle 36"/>
          <p:cNvSpPr>
            <a:spLocks noChangeAspect="1"/>
          </p:cNvSpPr>
          <p:nvPr/>
        </p:nvSpPr>
        <p:spPr bwMode="auto">
          <a:xfrm>
            <a:off x="6835770" y="4599085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hare</a:t>
            </a: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7137574" y="5139663"/>
            <a:ext cx="957756" cy="667885"/>
          </a:xfrm>
          <a:custGeom>
            <a:avLst/>
            <a:gdLst/>
            <a:ahLst/>
            <a:cxnLst/>
            <a:rect l="l" t="t" r="r" b="b"/>
            <a:pathLst>
              <a:path w="1822529" h="1109555">
                <a:moveTo>
                  <a:pt x="341442" y="686899"/>
                </a:moveTo>
                <a:cubicBezTo>
                  <a:pt x="376723" y="679869"/>
                  <a:pt x="419060" y="707989"/>
                  <a:pt x="433172" y="750169"/>
                </a:cubicBezTo>
                <a:cubicBezTo>
                  <a:pt x="440228" y="715019"/>
                  <a:pt x="482565" y="693929"/>
                  <a:pt x="517846" y="700959"/>
                </a:cubicBezTo>
                <a:cubicBezTo>
                  <a:pt x="553127" y="707989"/>
                  <a:pt x="581351" y="743139"/>
                  <a:pt x="581351" y="778289"/>
                </a:cubicBezTo>
                <a:cubicBezTo>
                  <a:pt x="581351" y="778283"/>
                  <a:pt x="581351" y="778218"/>
                  <a:pt x="581351" y="777410"/>
                </a:cubicBezTo>
                <a:lnTo>
                  <a:pt x="581351" y="771259"/>
                </a:lnTo>
                <a:cubicBezTo>
                  <a:pt x="588407" y="729079"/>
                  <a:pt x="630744" y="707989"/>
                  <a:pt x="673081" y="715019"/>
                </a:cubicBezTo>
                <a:cubicBezTo>
                  <a:pt x="715418" y="722049"/>
                  <a:pt x="743643" y="764229"/>
                  <a:pt x="729530" y="806408"/>
                </a:cubicBezTo>
                <a:cubicBezTo>
                  <a:pt x="729528" y="806422"/>
                  <a:pt x="729410" y="807248"/>
                  <a:pt x="722474" y="855618"/>
                </a:cubicBezTo>
                <a:cubicBezTo>
                  <a:pt x="736586" y="827498"/>
                  <a:pt x="771867" y="813438"/>
                  <a:pt x="807148" y="820468"/>
                </a:cubicBezTo>
                <a:cubicBezTo>
                  <a:pt x="842429" y="827498"/>
                  <a:pt x="870653" y="869678"/>
                  <a:pt x="863597" y="911858"/>
                </a:cubicBezTo>
                <a:cubicBezTo>
                  <a:pt x="863595" y="911868"/>
                  <a:pt x="863334" y="912973"/>
                  <a:pt x="835372" y="1031367"/>
                </a:cubicBezTo>
                <a:cubicBezTo>
                  <a:pt x="821260" y="1073546"/>
                  <a:pt x="785979" y="1094636"/>
                  <a:pt x="750699" y="1094636"/>
                </a:cubicBezTo>
                <a:lnTo>
                  <a:pt x="744602" y="1094636"/>
                </a:lnTo>
                <a:cubicBezTo>
                  <a:pt x="701306" y="1080576"/>
                  <a:pt x="680137" y="1045427"/>
                  <a:pt x="680137" y="1010277"/>
                </a:cubicBezTo>
                <a:cubicBezTo>
                  <a:pt x="666025" y="1031367"/>
                  <a:pt x="637800" y="1045427"/>
                  <a:pt x="609576" y="1045427"/>
                </a:cubicBezTo>
                <a:lnTo>
                  <a:pt x="603479" y="1045427"/>
                </a:lnTo>
                <a:cubicBezTo>
                  <a:pt x="560183" y="1031367"/>
                  <a:pt x="531958" y="989187"/>
                  <a:pt x="539014" y="954037"/>
                </a:cubicBezTo>
                <a:cubicBezTo>
                  <a:pt x="539018" y="954033"/>
                  <a:pt x="539072" y="953980"/>
                  <a:pt x="539896" y="953158"/>
                </a:cubicBezTo>
                <a:lnTo>
                  <a:pt x="546071" y="947007"/>
                </a:lnTo>
                <a:cubicBezTo>
                  <a:pt x="524902" y="968097"/>
                  <a:pt x="496678" y="982157"/>
                  <a:pt x="468453" y="982157"/>
                </a:cubicBezTo>
                <a:cubicBezTo>
                  <a:pt x="468446" y="982157"/>
                  <a:pt x="468376" y="982157"/>
                  <a:pt x="467571" y="982157"/>
                </a:cubicBezTo>
                <a:lnTo>
                  <a:pt x="461397" y="982157"/>
                </a:lnTo>
                <a:cubicBezTo>
                  <a:pt x="433172" y="975127"/>
                  <a:pt x="412004" y="954037"/>
                  <a:pt x="404948" y="925917"/>
                </a:cubicBezTo>
                <a:cubicBezTo>
                  <a:pt x="397892" y="932947"/>
                  <a:pt x="397892" y="932947"/>
                  <a:pt x="390835" y="932947"/>
                </a:cubicBezTo>
                <a:cubicBezTo>
                  <a:pt x="383779" y="932947"/>
                  <a:pt x="376723" y="932947"/>
                  <a:pt x="369667" y="932947"/>
                </a:cubicBezTo>
                <a:cubicBezTo>
                  <a:pt x="334386" y="932947"/>
                  <a:pt x="306162" y="904828"/>
                  <a:pt x="299106" y="876708"/>
                </a:cubicBezTo>
                <a:cubicBezTo>
                  <a:pt x="299102" y="876692"/>
                  <a:pt x="298837" y="875458"/>
                  <a:pt x="277937" y="778289"/>
                </a:cubicBezTo>
                <a:cubicBezTo>
                  <a:pt x="270881" y="736109"/>
                  <a:pt x="299106" y="700959"/>
                  <a:pt x="341442" y="686899"/>
                </a:cubicBezTo>
                <a:close/>
                <a:moveTo>
                  <a:pt x="362511" y="142762"/>
                </a:moveTo>
                <a:cubicBezTo>
                  <a:pt x="362554" y="142762"/>
                  <a:pt x="390795" y="142762"/>
                  <a:pt x="433141" y="142762"/>
                </a:cubicBezTo>
                <a:cubicBezTo>
                  <a:pt x="404889" y="170990"/>
                  <a:pt x="383700" y="206274"/>
                  <a:pt x="383700" y="241559"/>
                </a:cubicBezTo>
                <a:cubicBezTo>
                  <a:pt x="376637" y="276843"/>
                  <a:pt x="383700" y="305071"/>
                  <a:pt x="397826" y="333298"/>
                </a:cubicBezTo>
                <a:cubicBezTo>
                  <a:pt x="426078" y="382696"/>
                  <a:pt x="468457" y="410924"/>
                  <a:pt x="517898" y="410924"/>
                </a:cubicBezTo>
                <a:cubicBezTo>
                  <a:pt x="546150" y="417981"/>
                  <a:pt x="581465" y="410924"/>
                  <a:pt x="609717" y="396810"/>
                </a:cubicBezTo>
                <a:cubicBezTo>
                  <a:pt x="609726" y="396804"/>
                  <a:pt x="610149" y="396523"/>
                  <a:pt x="630907" y="382696"/>
                </a:cubicBezTo>
                <a:cubicBezTo>
                  <a:pt x="630927" y="382685"/>
                  <a:pt x="632883" y="381599"/>
                  <a:pt x="821609" y="276843"/>
                </a:cubicBezTo>
                <a:cubicBezTo>
                  <a:pt x="821623" y="276849"/>
                  <a:pt x="822935" y="277432"/>
                  <a:pt x="948744" y="333298"/>
                </a:cubicBezTo>
                <a:cubicBezTo>
                  <a:pt x="948758" y="333309"/>
                  <a:pt x="951606" y="335362"/>
                  <a:pt x="1506724" y="735540"/>
                </a:cubicBezTo>
                <a:cubicBezTo>
                  <a:pt x="1534976" y="756711"/>
                  <a:pt x="1542039" y="806109"/>
                  <a:pt x="1520850" y="841394"/>
                </a:cubicBezTo>
                <a:cubicBezTo>
                  <a:pt x="1506724" y="862564"/>
                  <a:pt x="1485535" y="876678"/>
                  <a:pt x="1457283" y="876678"/>
                </a:cubicBezTo>
                <a:cubicBezTo>
                  <a:pt x="1457268" y="876667"/>
                  <a:pt x="1455327" y="875252"/>
                  <a:pt x="1195950" y="686142"/>
                </a:cubicBezTo>
                <a:cubicBezTo>
                  <a:pt x="1188887" y="679085"/>
                  <a:pt x="1181824" y="686142"/>
                  <a:pt x="1174761" y="693199"/>
                </a:cubicBezTo>
                <a:cubicBezTo>
                  <a:pt x="1174761" y="700256"/>
                  <a:pt x="1174761" y="707313"/>
                  <a:pt x="1181824" y="714370"/>
                </a:cubicBezTo>
                <a:cubicBezTo>
                  <a:pt x="1181837" y="714379"/>
                  <a:pt x="1183505" y="715545"/>
                  <a:pt x="1393715" y="862564"/>
                </a:cubicBezTo>
                <a:cubicBezTo>
                  <a:pt x="1393715" y="883735"/>
                  <a:pt x="1393715" y="904906"/>
                  <a:pt x="1379589" y="926076"/>
                </a:cubicBezTo>
                <a:cubicBezTo>
                  <a:pt x="1365463" y="947247"/>
                  <a:pt x="1337211" y="961361"/>
                  <a:pt x="1316022" y="961361"/>
                </a:cubicBezTo>
                <a:cubicBezTo>
                  <a:pt x="1316007" y="961350"/>
                  <a:pt x="1314082" y="959908"/>
                  <a:pt x="1061752" y="770825"/>
                </a:cubicBezTo>
                <a:cubicBezTo>
                  <a:pt x="1054689" y="770825"/>
                  <a:pt x="1040563" y="770825"/>
                  <a:pt x="1040563" y="777882"/>
                </a:cubicBezTo>
                <a:cubicBezTo>
                  <a:pt x="1033500" y="784939"/>
                  <a:pt x="1033500" y="791995"/>
                  <a:pt x="1040563" y="799052"/>
                </a:cubicBezTo>
                <a:cubicBezTo>
                  <a:pt x="1040576" y="799061"/>
                  <a:pt x="1042204" y="800199"/>
                  <a:pt x="1252454" y="947247"/>
                </a:cubicBezTo>
                <a:cubicBezTo>
                  <a:pt x="1252454" y="968418"/>
                  <a:pt x="1252454" y="989588"/>
                  <a:pt x="1238328" y="1010759"/>
                </a:cubicBezTo>
                <a:cubicBezTo>
                  <a:pt x="1224202" y="1031930"/>
                  <a:pt x="1203013" y="1038986"/>
                  <a:pt x="1174761" y="1038986"/>
                </a:cubicBezTo>
                <a:cubicBezTo>
                  <a:pt x="1174742" y="1038973"/>
                  <a:pt x="1172878" y="1037684"/>
                  <a:pt x="991122" y="911962"/>
                </a:cubicBezTo>
                <a:cubicBezTo>
                  <a:pt x="984059" y="904906"/>
                  <a:pt x="976996" y="904906"/>
                  <a:pt x="969933" y="911962"/>
                </a:cubicBezTo>
                <a:cubicBezTo>
                  <a:pt x="969933" y="919019"/>
                  <a:pt x="969933" y="926076"/>
                  <a:pt x="976996" y="933133"/>
                </a:cubicBezTo>
                <a:cubicBezTo>
                  <a:pt x="977008" y="933143"/>
                  <a:pt x="978180" y="934021"/>
                  <a:pt x="1090004" y="1017816"/>
                </a:cubicBezTo>
                <a:cubicBezTo>
                  <a:pt x="1097067" y="1038986"/>
                  <a:pt x="1090004" y="1060157"/>
                  <a:pt x="1082941" y="1074271"/>
                </a:cubicBezTo>
                <a:cubicBezTo>
                  <a:pt x="1061752" y="1095441"/>
                  <a:pt x="1040563" y="1109555"/>
                  <a:pt x="1019374" y="1109555"/>
                </a:cubicBezTo>
                <a:cubicBezTo>
                  <a:pt x="1019361" y="1109546"/>
                  <a:pt x="1018089" y="1108628"/>
                  <a:pt x="892239" y="1017816"/>
                </a:cubicBezTo>
                <a:cubicBezTo>
                  <a:pt x="892243" y="1017797"/>
                  <a:pt x="892533" y="1016447"/>
                  <a:pt x="913428" y="919019"/>
                </a:cubicBezTo>
                <a:cubicBezTo>
                  <a:pt x="913428" y="918992"/>
                  <a:pt x="913428" y="911948"/>
                  <a:pt x="913428" y="904906"/>
                </a:cubicBezTo>
                <a:cubicBezTo>
                  <a:pt x="920491" y="841394"/>
                  <a:pt x="878113" y="784939"/>
                  <a:pt x="814546" y="770825"/>
                </a:cubicBezTo>
                <a:cubicBezTo>
                  <a:pt x="807483" y="763768"/>
                  <a:pt x="807483" y="763768"/>
                  <a:pt x="800420" y="763768"/>
                </a:cubicBezTo>
                <a:cubicBezTo>
                  <a:pt x="793357" y="763768"/>
                  <a:pt x="786294" y="763768"/>
                  <a:pt x="779230" y="763768"/>
                </a:cubicBezTo>
                <a:cubicBezTo>
                  <a:pt x="772167" y="714370"/>
                  <a:pt x="736852" y="679085"/>
                  <a:pt x="687411" y="664972"/>
                </a:cubicBezTo>
                <a:cubicBezTo>
                  <a:pt x="680357" y="664972"/>
                  <a:pt x="673304" y="664972"/>
                  <a:pt x="673285" y="664972"/>
                </a:cubicBezTo>
                <a:cubicBezTo>
                  <a:pt x="637970" y="657915"/>
                  <a:pt x="609717" y="664972"/>
                  <a:pt x="588528" y="679085"/>
                </a:cubicBezTo>
                <a:cubicBezTo>
                  <a:pt x="574402" y="664972"/>
                  <a:pt x="553213" y="650858"/>
                  <a:pt x="524961" y="650858"/>
                </a:cubicBezTo>
                <a:cubicBezTo>
                  <a:pt x="524931" y="650858"/>
                  <a:pt x="517917" y="650858"/>
                  <a:pt x="517898" y="650858"/>
                </a:cubicBezTo>
                <a:cubicBezTo>
                  <a:pt x="489646" y="643801"/>
                  <a:pt x="461394" y="650858"/>
                  <a:pt x="440204" y="664972"/>
                </a:cubicBezTo>
                <a:cubicBezTo>
                  <a:pt x="419015" y="650858"/>
                  <a:pt x="390763" y="636744"/>
                  <a:pt x="369574" y="636744"/>
                </a:cubicBezTo>
                <a:cubicBezTo>
                  <a:pt x="355448" y="636744"/>
                  <a:pt x="341322" y="636744"/>
                  <a:pt x="327196" y="636744"/>
                </a:cubicBezTo>
                <a:cubicBezTo>
                  <a:pt x="284817" y="650858"/>
                  <a:pt x="256565" y="672028"/>
                  <a:pt x="242439" y="707313"/>
                </a:cubicBezTo>
                <a:cubicBezTo>
                  <a:pt x="242430" y="707310"/>
                  <a:pt x="242003" y="707167"/>
                  <a:pt x="221250" y="700256"/>
                </a:cubicBezTo>
                <a:cubicBezTo>
                  <a:pt x="214188" y="425073"/>
                  <a:pt x="362473" y="142834"/>
                  <a:pt x="362511" y="142762"/>
                </a:cubicBezTo>
                <a:close/>
                <a:moveTo>
                  <a:pt x="1723364" y="112687"/>
                </a:moveTo>
                <a:cubicBezTo>
                  <a:pt x="1743550" y="115333"/>
                  <a:pt x="1760758" y="129886"/>
                  <a:pt x="1766052" y="156347"/>
                </a:cubicBezTo>
                <a:cubicBezTo>
                  <a:pt x="1766054" y="156361"/>
                  <a:pt x="1766355" y="158999"/>
                  <a:pt x="1822529" y="650276"/>
                </a:cubicBezTo>
                <a:cubicBezTo>
                  <a:pt x="1822529" y="678501"/>
                  <a:pt x="1801350" y="706725"/>
                  <a:pt x="1766052" y="706725"/>
                </a:cubicBezTo>
                <a:cubicBezTo>
                  <a:pt x="1766043" y="706725"/>
                  <a:pt x="1765216" y="706725"/>
                  <a:pt x="1688397" y="706725"/>
                </a:cubicBezTo>
                <a:cubicBezTo>
                  <a:pt x="1709572" y="332816"/>
                  <a:pt x="1533148" y="156409"/>
                  <a:pt x="1533086" y="156347"/>
                </a:cubicBezTo>
                <a:cubicBezTo>
                  <a:pt x="1533096" y="156345"/>
                  <a:pt x="1534390" y="156021"/>
                  <a:pt x="1702516" y="114010"/>
                </a:cubicBezTo>
                <a:cubicBezTo>
                  <a:pt x="1709576" y="112246"/>
                  <a:pt x="1716635" y="111805"/>
                  <a:pt x="1723364" y="112687"/>
                </a:cubicBezTo>
                <a:close/>
                <a:moveTo>
                  <a:pt x="216121" y="52882"/>
                </a:moveTo>
                <a:cubicBezTo>
                  <a:pt x="222948" y="53102"/>
                  <a:pt x="229996" y="54864"/>
                  <a:pt x="237043" y="58387"/>
                </a:cubicBezTo>
                <a:cubicBezTo>
                  <a:pt x="237043" y="58387"/>
                  <a:pt x="237043" y="58387"/>
                  <a:pt x="321609" y="107717"/>
                </a:cubicBezTo>
                <a:cubicBezTo>
                  <a:pt x="321609" y="107717"/>
                  <a:pt x="159524" y="410746"/>
                  <a:pt x="173618" y="706726"/>
                </a:cubicBezTo>
                <a:cubicBezTo>
                  <a:pt x="173618" y="706726"/>
                  <a:pt x="173618" y="706726"/>
                  <a:pt x="39721" y="678538"/>
                </a:cubicBezTo>
                <a:cubicBezTo>
                  <a:pt x="11533" y="678538"/>
                  <a:pt x="-9609" y="650349"/>
                  <a:pt x="4485" y="615113"/>
                </a:cubicBezTo>
                <a:cubicBezTo>
                  <a:pt x="4485" y="615113"/>
                  <a:pt x="4485" y="615113"/>
                  <a:pt x="166571" y="86576"/>
                </a:cubicBezTo>
                <a:cubicBezTo>
                  <a:pt x="177142" y="65434"/>
                  <a:pt x="195640" y="52221"/>
                  <a:pt x="216121" y="52882"/>
                </a:cubicBezTo>
                <a:close/>
                <a:moveTo>
                  <a:pt x="811860" y="637"/>
                </a:moveTo>
                <a:cubicBezTo>
                  <a:pt x="827743" y="-1131"/>
                  <a:pt x="843626" y="637"/>
                  <a:pt x="857745" y="7709"/>
                </a:cubicBezTo>
                <a:cubicBezTo>
                  <a:pt x="857763" y="7717"/>
                  <a:pt x="860458" y="8948"/>
                  <a:pt x="1260115" y="191579"/>
                </a:cubicBezTo>
                <a:cubicBezTo>
                  <a:pt x="1281293" y="205723"/>
                  <a:pt x="1302470" y="212795"/>
                  <a:pt x="1316589" y="212795"/>
                </a:cubicBezTo>
                <a:cubicBezTo>
                  <a:pt x="1358938" y="226937"/>
                  <a:pt x="1507151" y="198657"/>
                  <a:pt x="1507185" y="198651"/>
                </a:cubicBezTo>
                <a:cubicBezTo>
                  <a:pt x="1507263" y="198732"/>
                  <a:pt x="1655423" y="354319"/>
                  <a:pt x="1641309" y="679541"/>
                </a:cubicBezTo>
                <a:cubicBezTo>
                  <a:pt x="1641290" y="679545"/>
                  <a:pt x="1639948" y="679833"/>
                  <a:pt x="1542481" y="700757"/>
                </a:cubicBezTo>
                <a:cubicBezTo>
                  <a:pt x="1542454" y="700730"/>
                  <a:pt x="1535433" y="693697"/>
                  <a:pt x="1535422" y="693685"/>
                </a:cubicBezTo>
                <a:cubicBezTo>
                  <a:pt x="1535404" y="693673"/>
                  <a:pt x="1532978" y="691937"/>
                  <a:pt x="1189524" y="446168"/>
                </a:cubicBezTo>
                <a:cubicBezTo>
                  <a:pt x="1189512" y="446159"/>
                  <a:pt x="1187911" y="444983"/>
                  <a:pt x="977750" y="290586"/>
                </a:cubicBezTo>
                <a:cubicBezTo>
                  <a:pt x="977733" y="290578"/>
                  <a:pt x="976153" y="289858"/>
                  <a:pt x="822449" y="219867"/>
                </a:cubicBezTo>
                <a:cubicBezTo>
                  <a:pt x="822435" y="219874"/>
                  <a:pt x="820645" y="220824"/>
                  <a:pt x="582438" y="347161"/>
                </a:cubicBezTo>
                <a:cubicBezTo>
                  <a:pt x="568320" y="361305"/>
                  <a:pt x="547143" y="361305"/>
                  <a:pt x="525965" y="361305"/>
                </a:cubicBezTo>
                <a:cubicBezTo>
                  <a:pt x="490669" y="361305"/>
                  <a:pt x="462433" y="340089"/>
                  <a:pt x="448315" y="311802"/>
                </a:cubicBezTo>
                <a:cubicBezTo>
                  <a:pt x="420078" y="262298"/>
                  <a:pt x="434196" y="198651"/>
                  <a:pt x="483610" y="170363"/>
                </a:cubicBezTo>
                <a:cubicBezTo>
                  <a:pt x="483624" y="170356"/>
                  <a:pt x="484873" y="169694"/>
                  <a:pt x="603616" y="106715"/>
                </a:cubicBezTo>
                <a:cubicBezTo>
                  <a:pt x="603633" y="106706"/>
                  <a:pt x="605286" y="105770"/>
                  <a:pt x="765976" y="14781"/>
                </a:cubicBezTo>
                <a:cubicBezTo>
                  <a:pt x="780094" y="7709"/>
                  <a:pt x="795977" y="2405"/>
                  <a:pt x="811860" y="6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n>
                <a:solidFill>
                  <a:srgbClr val="505050">
                    <a:alpha val="0"/>
                  </a:srgb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9" name="Rectangle 38"/>
          <p:cNvSpPr>
            <a:spLocks noChangeAspect="1"/>
          </p:cNvSpPr>
          <p:nvPr/>
        </p:nvSpPr>
        <p:spPr bwMode="auto">
          <a:xfrm>
            <a:off x="8550717" y="4599085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Question</a:t>
            </a:r>
            <a:endParaRPr lang="en-US" sz="183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>
            <a:spLocks noChangeAspect="1"/>
          </p:cNvSpPr>
          <p:nvPr/>
        </p:nvSpPr>
        <p:spPr bwMode="auto">
          <a:xfrm>
            <a:off x="10265665" y="4599085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obility</a:t>
            </a:r>
            <a:endParaRPr lang="en-US" sz="183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2576" y="1699195"/>
            <a:ext cx="5069008" cy="2745399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 bwMode="auto">
          <a:xfrm>
            <a:off x="6830164" y="1690851"/>
            <a:ext cx="5081420" cy="960234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500" b="1" kern="0" spc="-4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Collaborate in Power BI for Office 365</a:t>
            </a:r>
            <a:endParaRPr lang="en-US" sz="3100" b="1" kern="0" spc="-41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  <a:p>
            <a:pPr defTabSz="93229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1 </a:t>
            </a: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in 4 </a:t>
            </a:r>
            <a:r>
              <a:rPr lang="en-US" sz="2000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enterprise customers on Office </a:t>
            </a: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365</a:t>
            </a:r>
          </a:p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100" kern="0" spc="-4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sp>
        <p:nvSpPr>
          <p:cNvPr id="43" name="Rectangle 42"/>
          <p:cNvSpPr>
            <a:spLocks noChangeAspect="1"/>
          </p:cNvSpPr>
          <p:nvPr/>
        </p:nvSpPr>
        <p:spPr bwMode="auto">
          <a:xfrm>
            <a:off x="6840219" y="4525198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Share</a:t>
            </a:r>
          </a:p>
        </p:txBody>
      </p:sp>
      <p:sp>
        <p:nvSpPr>
          <p:cNvPr id="44" name="Freeform 43"/>
          <p:cNvSpPr>
            <a:spLocks/>
          </p:cNvSpPr>
          <p:nvPr/>
        </p:nvSpPr>
        <p:spPr bwMode="auto">
          <a:xfrm>
            <a:off x="7142023" y="5065776"/>
            <a:ext cx="957756" cy="667885"/>
          </a:xfrm>
          <a:custGeom>
            <a:avLst/>
            <a:gdLst/>
            <a:ahLst/>
            <a:cxnLst/>
            <a:rect l="l" t="t" r="r" b="b"/>
            <a:pathLst>
              <a:path w="1822529" h="1109555">
                <a:moveTo>
                  <a:pt x="341442" y="686899"/>
                </a:moveTo>
                <a:cubicBezTo>
                  <a:pt x="376723" y="679869"/>
                  <a:pt x="419060" y="707989"/>
                  <a:pt x="433172" y="750169"/>
                </a:cubicBezTo>
                <a:cubicBezTo>
                  <a:pt x="440228" y="715019"/>
                  <a:pt x="482565" y="693929"/>
                  <a:pt x="517846" y="700959"/>
                </a:cubicBezTo>
                <a:cubicBezTo>
                  <a:pt x="553127" y="707989"/>
                  <a:pt x="581351" y="743139"/>
                  <a:pt x="581351" y="778289"/>
                </a:cubicBezTo>
                <a:cubicBezTo>
                  <a:pt x="581351" y="778283"/>
                  <a:pt x="581351" y="778218"/>
                  <a:pt x="581351" y="777410"/>
                </a:cubicBezTo>
                <a:lnTo>
                  <a:pt x="581351" y="771259"/>
                </a:lnTo>
                <a:cubicBezTo>
                  <a:pt x="588407" y="729079"/>
                  <a:pt x="630744" y="707989"/>
                  <a:pt x="673081" y="715019"/>
                </a:cubicBezTo>
                <a:cubicBezTo>
                  <a:pt x="715418" y="722049"/>
                  <a:pt x="743643" y="764229"/>
                  <a:pt x="729530" y="806408"/>
                </a:cubicBezTo>
                <a:cubicBezTo>
                  <a:pt x="729528" y="806422"/>
                  <a:pt x="729410" y="807248"/>
                  <a:pt x="722474" y="855618"/>
                </a:cubicBezTo>
                <a:cubicBezTo>
                  <a:pt x="736586" y="827498"/>
                  <a:pt x="771867" y="813438"/>
                  <a:pt x="807148" y="820468"/>
                </a:cubicBezTo>
                <a:cubicBezTo>
                  <a:pt x="842429" y="827498"/>
                  <a:pt x="870653" y="869678"/>
                  <a:pt x="863597" y="911858"/>
                </a:cubicBezTo>
                <a:cubicBezTo>
                  <a:pt x="863595" y="911868"/>
                  <a:pt x="863334" y="912973"/>
                  <a:pt x="835372" y="1031367"/>
                </a:cubicBezTo>
                <a:cubicBezTo>
                  <a:pt x="821260" y="1073546"/>
                  <a:pt x="785979" y="1094636"/>
                  <a:pt x="750699" y="1094636"/>
                </a:cubicBezTo>
                <a:lnTo>
                  <a:pt x="744602" y="1094636"/>
                </a:lnTo>
                <a:cubicBezTo>
                  <a:pt x="701306" y="1080576"/>
                  <a:pt x="680137" y="1045427"/>
                  <a:pt x="680137" y="1010277"/>
                </a:cubicBezTo>
                <a:cubicBezTo>
                  <a:pt x="666025" y="1031367"/>
                  <a:pt x="637800" y="1045427"/>
                  <a:pt x="609576" y="1045427"/>
                </a:cubicBezTo>
                <a:lnTo>
                  <a:pt x="603479" y="1045427"/>
                </a:lnTo>
                <a:cubicBezTo>
                  <a:pt x="560183" y="1031367"/>
                  <a:pt x="531958" y="989187"/>
                  <a:pt x="539014" y="954037"/>
                </a:cubicBezTo>
                <a:cubicBezTo>
                  <a:pt x="539018" y="954033"/>
                  <a:pt x="539072" y="953980"/>
                  <a:pt x="539896" y="953158"/>
                </a:cubicBezTo>
                <a:lnTo>
                  <a:pt x="546071" y="947007"/>
                </a:lnTo>
                <a:cubicBezTo>
                  <a:pt x="524902" y="968097"/>
                  <a:pt x="496678" y="982157"/>
                  <a:pt x="468453" y="982157"/>
                </a:cubicBezTo>
                <a:cubicBezTo>
                  <a:pt x="468446" y="982157"/>
                  <a:pt x="468376" y="982157"/>
                  <a:pt x="467571" y="982157"/>
                </a:cubicBezTo>
                <a:lnTo>
                  <a:pt x="461397" y="982157"/>
                </a:lnTo>
                <a:cubicBezTo>
                  <a:pt x="433172" y="975127"/>
                  <a:pt x="412004" y="954037"/>
                  <a:pt x="404948" y="925917"/>
                </a:cubicBezTo>
                <a:cubicBezTo>
                  <a:pt x="397892" y="932947"/>
                  <a:pt x="397892" y="932947"/>
                  <a:pt x="390835" y="932947"/>
                </a:cubicBezTo>
                <a:cubicBezTo>
                  <a:pt x="383779" y="932947"/>
                  <a:pt x="376723" y="932947"/>
                  <a:pt x="369667" y="932947"/>
                </a:cubicBezTo>
                <a:cubicBezTo>
                  <a:pt x="334386" y="932947"/>
                  <a:pt x="306162" y="904828"/>
                  <a:pt x="299106" y="876708"/>
                </a:cubicBezTo>
                <a:cubicBezTo>
                  <a:pt x="299102" y="876692"/>
                  <a:pt x="298837" y="875458"/>
                  <a:pt x="277937" y="778289"/>
                </a:cubicBezTo>
                <a:cubicBezTo>
                  <a:pt x="270881" y="736109"/>
                  <a:pt x="299106" y="700959"/>
                  <a:pt x="341442" y="686899"/>
                </a:cubicBezTo>
                <a:close/>
                <a:moveTo>
                  <a:pt x="362511" y="142762"/>
                </a:moveTo>
                <a:cubicBezTo>
                  <a:pt x="362554" y="142762"/>
                  <a:pt x="390795" y="142762"/>
                  <a:pt x="433141" y="142762"/>
                </a:cubicBezTo>
                <a:cubicBezTo>
                  <a:pt x="404889" y="170990"/>
                  <a:pt x="383700" y="206274"/>
                  <a:pt x="383700" y="241559"/>
                </a:cubicBezTo>
                <a:cubicBezTo>
                  <a:pt x="376637" y="276843"/>
                  <a:pt x="383700" y="305071"/>
                  <a:pt x="397826" y="333298"/>
                </a:cubicBezTo>
                <a:cubicBezTo>
                  <a:pt x="426078" y="382696"/>
                  <a:pt x="468457" y="410924"/>
                  <a:pt x="517898" y="410924"/>
                </a:cubicBezTo>
                <a:cubicBezTo>
                  <a:pt x="546150" y="417981"/>
                  <a:pt x="581465" y="410924"/>
                  <a:pt x="609717" y="396810"/>
                </a:cubicBezTo>
                <a:cubicBezTo>
                  <a:pt x="609726" y="396804"/>
                  <a:pt x="610149" y="396523"/>
                  <a:pt x="630907" y="382696"/>
                </a:cubicBezTo>
                <a:cubicBezTo>
                  <a:pt x="630927" y="382685"/>
                  <a:pt x="632883" y="381599"/>
                  <a:pt x="821609" y="276843"/>
                </a:cubicBezTo>
                <a:cubicBezTo>
                  <a:pt x="821623" y="276849"/>
                  <a:pt x="822935" y="277432"/>
                  <a:pt x="948744" y="333298"/>
                </a:cubicBezTo>
                <a:cubicBezTo>
                  <a:pt x="948758" y="333309"/>
                  <a:pt x="951606" y="335362"/>
                  <a:pt x="1506724" y="735540"/>
                </a:cubicBezTo>
                <a:cubicBezTo>
                  <a:pt x="1534976" y="756711"/>
                  <a:pt x="1542039" y="806109"/>
                  <a:pt x="1520850" y="841394"/>
                </a:cubicBezTo>
                <a:cubicBezTo>
                  <a:pt x="1506724" y="862564"/>
                  <a:pt x="1485535" y="876678"/>
                  <a:pt x="1457283" y="876678"/>
                </a:cubicBezTo>
                <a:cubicBezTo>
                  <a:pt x="1457268" y="876667"/>
                  <a:pt x="1455327" y="875252"/>
                  <a:pt x="1195950" y="686142"/>
                </a:cubicBezTo>
                <a:cubicBezTo>
                  <a:pt x="1188887" y="679085"/>
                  <a:pt x="1181824" y="686142"/>
                  <a:pt x="1174761" y="693199"/>
                </a:cubicBezTo>
                <a:cubicBezTo>
                  <a:pt x="1174761" y="700256"/>
                  <a:pt x="1174761" y="707313"/>
                  <a:pt x="1181824" y="714370"/>
                </a:cubicBezTo>
                <a:cubicBezTo>
                  <a:pt x="1181837" y="714379"/>
                  <a:pt x="1183505" y="715545"/>
                  <a:pt x="1393715" y="862564"/>
                </a:cubicBezTo>
                <a:cubicBezTo>
                  <a:pt x="1393715" y="883735"/>
                  <a:pt x="1393715" y="904906"/>
                  <a:pt x="1379589" y="926076"/>
                </a:cubicBezTo>
                <a:cubicBezTo>
                  <a:pt x="1365463" y="947247"/>
                  <a:pt x="1337211" y="961361"/>
                  <a:pt x="1316022" y="961361"/>
                </a:cubicBezTo>
                <a:cubicBezTo>
                  <a:pt x="1316007" y="961350"/>
                  <a:pt x="1314082" y="959908"/>
                  <a:pt x="1061752" y="770825"/>
                </a:cubicBezTo>
                <a:cubicBezTo>
                  <a:pt x="1054689" y="770825"/>
                  <a:pt x="1040563" y="770825"/>
                  <a:pt x="1040563" y="777882"/>
                </a:cubicBezTo>
                <a:cubicBezTo>
                  <a:pt x="1033500" y="784939"/>
                  <a:pt x="1033500" y="791995"/>
                  <a:pt x="1040563" y="799052"/>
                </a:cubicBezTo>
                <a:cubicBezTo>
                  <a:pt x="1040576" y="799061"/>
                  <a:pt x="1042204" y="800199"/>
                  <a:pt x="1252454" y="947247"/>
                </a:cubicBezTo>
                <a:cubicBezTo>
                  <a:pt x="1252454" y="968418"/>
                  <a:pt x="1252454" y="989588"/>
                  <a:pt x="1238328" y="1010759"/>
                </a:cubicBezTo>
                <a:cubicBezTo>
                  <a:pt x="1224202" y="1031930"/>
                  <a:pt x="1203013" y="1038986"/>
                  <a:pt x="1174761" y="1038986"/>
                </a:cubicBezTo>
                <a:cubicBezTo>
                  <a:pt x="1174742" y="1038973"/>
                  <a:pt x="1172878" y="1037684"/>
                  <a:pt x="991122" y="911962"/>
                </a:cubicBezTo>
                <a:cubicBezTo>
                  <a:pt x="984059" y="904906"/>
                  <a:pt x="976996" y="904906"/>
                  <a:pt x="969933" y="911962"/>
                </a:cubicBezTo>
                <a:cubicBezTo>
                  <a:pt x="969933" y="919019"/>
                  <a:pt x="969933" y="926076"/>
                  <a:pt x="976996" y="933133"/>
                </a:cubicBezTo>
                <a:cubicBezTo>
                  <a:pt x="977008" y="933143"/>
                  <a:pt x="978180" y="934021"/>
                  <a:pt x="1090004" y="1017816"/>
                </a:cubicBezTo>
                <a:cubicBezTo>
                  <a:pt x="1097067" y="1038986"/>
                  <a:pt x="1090004" y="1060157"/>
                  <a:pt x="1082941" y="1074271"/>
                </a:cubicBezTo>
                <a:cubicBezTo>
                  <a:pt x="1061752" y="1095441"/>
                  <a:pt x="1040563" y="1109555"/>
                  <a:pt x="1019374" y="1109555"/>
                </a:cubicBezTo>
                <a:cubicBezTo>
                  <a:pt x="1019361" y="1109546"/>
                  <a:pt x="1018089" y="1108628"/>
                  <a:pt x="892239" y="1017816"/>
                </a:cubicBezTo>
                <a:cubicBezTo>
                  <a:pt x="892243" y="1017797"/>
                  <a:pt x="892533" y="1016447"/>
                  <a:pt x="913428" y="919019"/>
                </a:cubicBezTo>
                <a:cubicBezTo>
                  <a:pt x="913428" y="918992"/>
                  <a:pt x="913428" y="911948"/>
                  <a:pt x="913428" y="904906"/>
                </a:cubicBezTo>
                <a:cubicBezTo>
                  <a:pt x="920491" y="841394"/>
                  <a:pt x="878113" y="784939"/>
                  <a:pt x="814546" y="770825"/>
                </a:cubicBezTo>
                <a:cubicBezTo>
                  <a:pt x="807483" y="763768"/>
                  <a:pt x="807483" y="763768"/>
                  <a:pt x="800420" y="763768"/>
                </a:cubicBezTo>
                <a:cubicBezTo>
                  <a:pt x="793357" y="763768"/>
                  <a:pt x="786294" y="763768"/>
                  <a:pt x="779230" y="763768"/>
                </a:cubicBezTo>
                <a:cubicBezTo>
                  <a:pt x="772167" y="714370"/>
                  <a:pt x="736852" y="679085"/>
                  <a:pt x="687411" y="664972"/>
                </a:cubicBezTo>
                <a:cubicBezTo>
                  <a:pt x="680357" y="664972"/>
                  <a:pt x="673304" y="664972"/>
                  <a:pt x="673285" y="664972"/>
                </a:cubicBezTo>
                <a:cubicBezTo>
                  <a:pt x="637970" y="657915"/>
                  <a:pt x="609717" y="664972"/>
                  <a:pt x="588528" y="679085"/>
                </a:cubicBezTo>
                <a:cubicBezTo>
                  <a:pt x="574402" y="664972"/>
                  <a:pt x="553213" y="650858"/>
                  <a:pt x="524961" y="650858"/>
                </a:cubicBezTo>
                <a:cubicBezTo>
                  <a:pt x="524931" y="650858"/>
                  <a:pt x="517917" y="650858"/>
                  <a:pt x="517898" y="650858"/>
                </a:cubicBezTo>
                <a:cubicBezTo>
                  <a:pt x="489646" y="643801"/>
                  <a:pt x="461394" y="650858"/>
                  <a:pt x="440204" y="664972"/>
                </a:cubicBezTo>
                <a:cubicBezTo>
                  <a:pt x="419015" y="650858"/>
                  <a:pt x="390763" y="636744"/>
                  <a:pt x="369574" y="636744"/>
                </a:cubicBezTo>
                <a:cubicBezTo>
                  <a:pt x="355448" y="636744"/>
                  <a:pt x="341322" y="636744"/>
                  <a:pt x="327196" y="636744"/>
                </a:cubicBezTo>
                <a:cubicBezTo>
                  <a:pt x="284817" y="650858"/>
                  <a:pt x="256565" y="672028"/>
                  <a:pt x="242439" y="707313"/>
                </a:cubicBezTo>
                <a:cubicBezTo>
                  <a:pt x="242430" y="707310"/>
                  <a:pt x="242003" y="707167"/>
                  <a:pt x="221250" y="700256"/>
                </a:cubicBezTo>
                <a:cubicBezTo>
                  <a:pt x="214188" y="425073"/>
                  <a:pt x="362473" y="142834"/>
                  <a:pt x="362511" y="142762"/>
                </a:cubicBezTo>
                <a:close/>
                <a:moveTo>
                  <a:pt x="1723364" y="112687"/>
                </a:moveTo>
                <a:cubicBezTo>
                  <a:pt x="1743550" y="115333"/>
                  <a:pt x="1760758" y="129886"/>
                  <a:pt x="1766052" y="156347"/>
                </a:cubicBezTo>
                <a:cubicBezTo>
                  <a:pt x="1766054" y="156361"/>
                  <a:pt x="1766355" y="158999"/>
                  <a:pt x="1822529" y="650276"/>
                </a:cubicBezTo>
                <a:cubicBezTo>
                  <a:pt x="1822529" y="678501"/>
                  <a:pt x="1801350" y="706725"/>
                  <a:pt x="1766052" y="706725"/>
                </a:cubicBezTo>
                <a:cubicBezTo>
                  <a:pt x="1766043" y="706725"/>
                  <a:pt x="1765216" y="706725"/>
                  <a:pt x="1688397" y="706725"/>
                </a:cubicBezTo>
                <a:cubicBezTo>
                  <a:pt x="1709572" y="332816"/>
                  <a:pt x="1533148" y="156409"/>
                  <a:pt x="1533086" y="156347"/>
                </a:cubicBezTo>
                <a:cubicBezTo>
                  <a:pt x="1533096" y="156345"/>
                  <a:pt x="1534390" y="156021"/>
                  <a:pt x="1702516" y="114010"/>
                </a:cubicBezTo>
                <a:cubicBezTo>
                  <a:pt x="1709576" y="112246"/>
                  <a:pt x="1716635" y="111805"/>
                  <a:pt x="1723364" y="112687"/>
                </a:cubicBezTo>
                <a:close/>
                <a:moveTo>
                  <a:pt x="216121" y="52882"/>
                </a:moveTo>
                <a:cubicBezTo>
                  <a:pt x="222948" y="53102"/>
                  <a:pt x="229996" y="54864"/>
                  <a:pt x="237043" y="58387"/>
                </a:cubicBezTo>
                <a:cubicBezTo>
                  <a:pt x="237043" y="58387"/>
                  <a:pt x="237043" y="58387"/>
                  <a:pt x="321609" y="107717"/>
                </a:cubicBezTo>
                <a:cubicBezTo>
                  <a:pt x="321609" y="107717"/>
                  <a:pt x="159524" y="410746"/>
                  <a:pt x="173618" y="706726"/>
                </a:cubicBezTo>
                <a:cubicBezTo>
                  <a:pt x="173618" y="706726"/>
                  <a:pt x="173618" y="706726"/>
                  <a:pt x="39721" y="678538"/>
                </a:cubicBezTo>
                <a:cubicBezTo>
                  <a:pt x="11533" y="678538"/>
                  <a:pt x="-9609" y="650349"/>
                  <a:pt x="4485" y="615113"/>
                </a:cubicBezTo>
                <a:cubicBezTo>
                  <a:pt x="4485" y="615113"/>
                  <a:pt x="4485" y="615113"/>
                  <a:pt x="166571" y="86576"/>
                </a:cubicBezTo>
                <a:cubicBezTo>
                  <a:pt x="177142" y="65434"/>
                  <a:pt x="195640" y="52221"/>
                  <a:pt x="216121" y="52882"/>
                </a:cubicBezTo>
                <a:close/>
                <a:moveTo>
                  <a:pt x="811860" y="637"/>
                </a:moveTo>
                <a:cubicBezTo>
                  <a:pt x="827743" y="-1131"/>
                  <a:pt x="843626" y="637"/>
                  <a:pt x="857745" y="7709"/>
                </a:cubicBezTo>
                <a:cubicBezTo>
                  <a:pt x="857763" y="7717"/>
                  <a:pt x="860458" y="8948"/>
                  <a:pt x="1260115" y="191579"/>
                </a:cubicBezTo>
                <a:cubicBezTo>
                  <a:pt x="1281293" y="205723"/>
                  <a:pt x="1302470" y="212795"/>
                  <a:pt x="1316589" y="212795"/>
                </a:cubicBezTo>
                <a:cubicBezTo>
                  <a:pt x="1358938" y="226937"/>
                  <a:pt x="1507151" y="198657"/>
                  <a:pt x="1507185" y="198651"/>
                </a:cubicBezTo>
                <a:cubicBezTo>
                  <a:pt x="1507263" y="198732"/>
                  <a:pt x="1655423" y="354319"/>
                  <a:pt x="1641309" y="679541"/>
                </a:cubicBezTo>
                <a:cubicBezTo>
                  <a:pt x="1641290" y="679545"/>
                  <a:pt x="1639948" y="679833"/>
                  <a:pt x="1542481" y="700757"/>
                </a:cubicBezTo>
                <a:cubicBezTo>
                  <a:pt x="1542454" y="700730"/>
                  <a:pt x="1535433" y="693697"/>
                  <a:pt x="1535422" y="693685"/>
                </a:cubicBezTo>
                <a:cubicBezTo>
                  <a:pt x="1535404" y="693673"/>
                  <a:pt x="1532978" y="691937"/>
                  <a:pt x="1189524" y="446168"/>
                </a:cubicBezTo>
                <a:cubicBezTo>
                  <a:pt x="1189512" y="446159"/>
                  <a:pt x="1187911" y="444983"/>
                  <a:pt x="977750" y="290586"/>
                </a:cubicBezTo>
                <a:cubicBezTo>
                  <a:pt x="977733" y="290578"/>
                  <a:pt x="976153" y="289858"/>
                  <a:pt x="822449" y="219867"/>
                </a:cubicBezTo>
                <a:cubicBezTo>
                  <a:pt x="822435" y="219874"/>
                  <a:pt x="820645" y="220824"/>
                  <a:pt x="582438" y="347161"/>
                </a:cubicBezTo>
                <a:cubicBezTo>
                  <a:pt x="568320" y="361305"/>
                  <a:pt x="547143" y="361305"/>
                  <a:pt x="525965" y="361305"/>
                </a:cubicBezTo>
                <a:cubicBezTo>
                  <a:pt x="490669" y="361305"/>
                  <a:pt x="462433" y="340089"/>
                  <a:pt x="448315" y="311802"/>
                </a:cubicBezTo>
                <a:cubicBezTo>
                  <a:pt x="420078" y="262298"/>
                  <a:pt x="434196" y="198651"/>
                  <a:pt x="483610" y="170363"/>
                </a:cubicBezTo>
                <a:cubicBezTo>
                  <a:pt x="483624" y="170356"/>
                  <a:pt x="484873" y="169694"/>
                  <a:pt x="603616" y="106715"/>
                </a:cubicBezTo>
                <a:cubicBezTo>
                  <a:pt x="603633" y="106706"/>
                  <a:pt x="605286" y="105770"/>
                  <a:pt x="765976" y="14781"/>
                </a:cubicBezTo>
                <a:cubicBezTo>
                  <a:pt x="780094" y="7709"/>
                  <a:pt x="795977" y="2405"/>
                  <a:pt x="811860" y="63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n>
                <a:solidFill>
                  <a:srgbClr val="505050">
                    <a:alpha val="0"/>
                  </a:srgb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5" name="Rectangle 44"/>
          <p:cNvSpPr>
            <a:spLocks noChangeAspect="1"/>
          </p:cNvSpPr>
          <p:nvPr/>
        </p:nvSpPr>
        <p:spPr bwMode="auto">
          <a:xfrm>
            <a:off x="8555166" y="4525198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Question</a:t>
            </a:r>
            <a:endParaRPr lang="en-US" sz="183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Rectangle 45"/>
          <p:cNvSpPr/>
          <p:nvPr/>
        </p:nvSpPr>
        <p:spPr bwMode="black">
          <a:xfrm>
            <a:off x="8943208" y="5056648"/>
            <a:ext cx="911692" cy="570226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740740"/>
            <a:endParaRPr lang="en-US" sz="1836" kern="0" spc="-122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Light" pitchFamily="34" charset="0"/>
            </a:endParaRPr>
          </a:p>
        </p:txBody>
      </p:sp>
      <p:sp>
        <p:nvSpPr>
          <p:cNvPr id="47" name="Isosceles Triangle 46"/>
          <p:cNvSpPr/>
          <p:nvPr/>
        </p:nvSpPr>
        <p:spPr bwMode="black">
          <a:xfrm flipV="1">
            <a:off x="9082654" y="5576192"/>
            <a:ext cx="319414" cy="266107"/>
          </a:xfrm>
          <a:prstGeom prst="triangle">
            <a:avLst>
              <a:gd name="adj" fmla="val 20000"/>
            </a:avLst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740740"/>
            <a:endParaRPr lang="en-US" sz="1836" kern="0" spc="-122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Light" pitchFamily="34" charset="0"/>
            </a:endParaRPr>
          </a:p>
        </p:txBody>
      </p:sp>
      <p:sp>
        <p:nvSpPr>
          <p:cNvPr id="48" name="Rectangle 47"/>
          <p:cNvSpPr>
            <a:spLocks noChangeAspect="1"/>
          </p:cNvSpPr>
          <p:nvPr/>
        </p:nvSpPr>
        <p:spPr bwMode="auto">
          <a:xfrm>
            <a:off x="10270114" y="4525198"/>
            <a:ext cx="1645919" cy="1645920"/>
          </a:xfrm>
          <a:prstGeom prst="rect">
            <a:avLst/>
          </a:prstGeom>
          <a:solidFill>
            <a:srgbClr val="FF8C00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91440" rIns="93256" bIns="91440" numCol="1" rtlCol="0" anchor="t" anchorCtr="0" compatLnSpc="1">
            <a:prstTxWarp prst="textNoShape">
              <a:avLst/>
            </a:prstTxWarp>
          </a:bodyPr>
          <a:lstStyle/>
          <a:p>
            <a:pPr defTabSz="932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36" kern="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obility</a:t>
            </a:r>
            <a:endParaRPr lang="en-US" sz="1836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 rot="2614426" flipH="1">
            <a:off x="10511149" y="5358234"/>
            <a:ext cx="349307" cy="469121"/>
          </a:xfrm>
          <a:prstGeom prst="rect">
            <a:avLst/>
          </a:prstGeom>
        </p:spPr>
      </p:pic>
      <p:sp>
        <p:nvSpPr>
          <p:cNvPr id="50" name="Freeform 49"/>
          <p:cNvSpPr/>
          <p:nvPr>
            <p:custDataLst>
              <p:tags r:id="rId2"/>
            </p:custDataLst>
          </p:nvPr>
        </p:nvSpPr>
        <p:spPr>
          <a:xfrm>
            <a:off x="10917413" y="5187002"/>
            <a:ext cx="333363" cy="335998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36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/>
            </a:endParaRPr>
          </a:p>
        </p:txBody>
      </p:sp>
      <p:sp>
        <p:nvSpPr>
          <p:cNvPr id="81" name="TextBox 80"/>
          <p:cNvSpPr txBox="1"/>
          <p:nvPr/>
        </p:nvSpPr>
        <p:spPr bwMode="black">
          <a:xfrm>
            <a:off x="9109507" y="5206327"/>
            <a:ext cx="770802" cy="299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1900" b="1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Q</a:t>
            </a:r>
            <a:r>
              <a:rPr lang="en-US" sz="1900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&amp;</a:t>
            </a:r>
            <a:r>
              <a:rPr lang="en-US" sz="1900" b="1" kern="0" dirty="0" smtClean="0">
                <a:gradFill>
                  <a:gsLst>
                    <a:gs pos="0">
                      <a:srgbClr val="FF8C00"/>
                    </a:gs>
                    <a:gs pos="98000">
                      <a:srgbClr val="FF8C00"/>
                    </a:gs>
                  </a:gsLst>
                  <a:lin ang="5400000" scaled="0"/>
                </a:gradFill>
              </a:rPr>
              <a:t>A</a:t>
            </a:r>
            <a:endParaRPr lang="en-US" sz="1900" kern="0" spc="-135" dirty="0" smtClean="0">
              <a:gradFill>
                <a:gsLst>
                  <a:gs pos="0">
                    <a:srgbClr val="FF8C00"/>
                  </a:gs>
                  <a:gs pos="98000">
                    <a:srgbClr val="FF8C00"/>
                  </a:gs>
                </a:gsLst>
                <a:lin ang="5400000" scaled="0"/>
              </a:gradFill>
              <a:latin typeface="Arial Black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155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rgbClr val="92D050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863067" y="2873978"/>
            <a:ext cx="1190304" cy="1833466"/>
            <a:chOff x="1041900" y="3178923"/>
            <a:chExt cx="1190304" cy="183346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" name="Flowchart: Multidocument 3"/>
            <p:cNvSpPr/>
            <p:nvPr/>
          </p:nvSpPr>
          <p:spPr>
            <a:xfrm>
              <a:off x="1041900" y="3178923"/>
              <a:ext cx="1167269" cy="1561349"/>
            </a:xfrm>
            <a:prstGeom prst="flowChartMultidocument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ATA SOURCES</a:t>
              </a:r>
            </a:p>
            <a:p>
              <a:pPr algn="ctr"/>
              <a:endParaRPr lang="en-US" dirty="0">
                <a:solidFill>
                  <a:schemeClr val="bg1"/>
                </a:solidFill>
              </a:endParaRPr>
            </a:p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1498674" y="4077823"/>
              <a:ext cx="733530" cy="934566"/>
            </a:xfrm>
            <a:prstGeom prst="flowChartMagneticDisk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Flowchart: Multidocument 5"/>
          <p:cNvSpPr/>
          <p:nvPr/>
        </p:nvSpPr>
        <p:spPr>
          <a:xfrm>
            <a:off x="2787328" y="2697621"/>
            <a:ext cx="1549055" cy="1909733"/>
          </a:xfrm>
          <a:prstGeom prst="flowChartMulti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EPORT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93375" y="3076572"/>
            <a:ext cx="1665828" cy="1163589"/>
            <a:chOff x="5069500" y="4001200"/>
            <a:chExt cx="1665828" cy="1163589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" name="Rectangle 7"/>
            <p:cNvSpPr/>
            <p:nvPr/>
          </p:nvSpPr>
          <p:spPr>
            <a:xfrm>
              <a:off x="5069500" y="4001200"/>
              <a:ext cx="1513428" cy="1011189"/>
            </a:xfrm>
            <a:prstGeom prst="rect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221900" y="4153600"/>
              <a:ext cx="1513428" cy="1011189"/>
            </a:xfrm>
            <a:prstGeom prst="rect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VISUALIZATION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9576332" y="2933039"/>
            <a:ext cx="1758753" cy="1609904"/>
            <a:chOff x="9684136" y="2707742"/>
            <a:chExt cx="1758753" cy="1609904"/>
          </a:xfrm>
          <a:solidFill>
            <a:srgbClr val="F2C811"/>
          </a:solidFill>
        </p:grpSpPr>
        <p:sp>
          <p:nvSpPr>
            <p:cNvPr id="11" name="Flowchart: Predefined Process 10"/>
            <p:cNvSpPr/>
            <p:nvPr/>
          </p:nvSpPr>
          <p:spPr>
            <a:xfrm>
              <a:off x="9684136" y="2707742"/>
              <a:ext cx="1355571" cy="942362"/>
            </a:xfrm>
            <a:prstGeom prst="flowChartPredefinedProcess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EVICES</a:t>
              </a:r>
            </a:p>
          </p:txBody>
        </p:sp>
        <p:sp>
          <p:nvSpPr>
            <p:cNvPr id="12" name="Flowchart: Predefined Process 11"/>
            <p:cNvSpPr/>
            <p:nvPr/>
          </p:nvSpPr>
          <p:spPr>
            <a:xfrm rot="5400000">
              <a:off x="10657579" y="3269911"/>
              <a:ext cx="929964" cy="640657"/>
            </a:xfrm>
            <a:prstGeom prst="flowChartPredefinedProcess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" name="Flowchart: Predefined Process 12"/>
            <p:cNvSpPr/>
            <p:nvPr/>
          </p:nvSpPr>
          <p:spPr>
            <a:xfrm rot="5400000">
              <a:off x="10226515" y="3532335"/>
              <a:ext cx="929964" cy="640657"/>
            </a:xfrm>
            <a:prstGeom prst="flowChartPredefinedProcess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455698" y="2802197"/>
            <a:ext cx="1404888" cy="1980336"/>
            <a:chOff x="7455698" y="2802197"/>
            <a:chExt cx="1689382" cy="1980336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5" name="Rectangle 14"/>
            <p:cNvSpPr/>
            <p:nvPr/>
          </p:nvSpPr>
          <p:spPr>
            <a:xfrm>
              <a:off x="7455698" y="2802197"/>
              <a:ext cx="1536982" cy="1827936"/>
            </a:xfrm>
            <a:prstGeom prst="rect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608098" y="2954597"/>
              <a:ext cx="1536982" cy="1827936"/>
            </a:xfrm>
            <a:prstGeom prst="rect">
              <a:avLst/>
            </a:prstGeom>
            <a:grpFill/>
            <a:ln>
              <a:solidFill>
                <a:schemeClr val="dk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DASHBOARDS</a:t>
              </a:r>
            </a:p>
          </p:txBody>
        </p:sp>
      </p:grpSp>
      <p:sp>
        <p:nvSpPr>
          <p:cNvPr id="17" name="Right Arrow 16"/>
          <p:cNvSpPr/>
          <p:nvPr/>
        </p:nvSpPr>
        <p:spPr>
          <a:xfrm>
            <a:off x="9014756" y="3449010"/>
            <a:ext cx="390293" cy="696136"/>
          </a:xfrm>
          <a:prstGeom prst="rightArrow">
            <a:avLst/>
          </a:prstGeom>
          <a:solidFill>
            <a:srgbClr val="8CBAE2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2232471" y="3442643"/>
            <a:ext cx="390293" cy="696136"/>
          </a:xfrm>
          <a:prstGeom prst="rightArrow">
            <a:avLst/>
          </a:prstGeom>
          <a:solidFill>
            <a:srgbClr val="FFF2CC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6924918" y="3442643"/>
            <a:ext cx="390293" cy="696136"/>
          </a:xfrm>
          <a:prstGeom prst="rightArrow">
            <a:avLst/>
          </a:prstGeom>
          <a:solidFill>
            <a:srgbClr val="E2F0D9"/>
          </a:solidFill>
          <a:ln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78616" y="3120501"/>
            <a:ext cx="659155" cy="923330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olidFill>
                  <a:srgbClr val="D2E4F4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50344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zing data with Excel</a:t>
            </a:r>
            <a:br>
              <a:rPr lang="en-US" dirty="0"/>
            </a:b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48326" y="1404500"/>
            <a:ext cx="4156685" cy="3657600"/>
            <a:chOff x="429386" y="2145468"/>
            <a:chExt cx="4156685" cy="3657600"/>
          </a:xfrm>
        </p:grpSpPr>
        <p:sp>
          <p:nvSpPr>
            <p:cNvPr id="5" name="Rectangle 4"/>
            <p:cNvSpPr/>
            <p:nvPr/>
          </p:nvSpPr>
          <p:spPr>
            <a:xfrm>
              <a:off x="429386" y="2145468"/>
              <a:ext cx="914400" cy="914400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6" name="Group 455"/>
            <p:cNvGrpSpPr>
              <a:grpSpLocks/>
            </p:cNvGrpSpPr>
            <p:nvPr/>
          </p:nvGrpSpPr>
          <p:grpSpPr bwMode="auto">
            <a:xfrm>
              <a:off x="657986" y="2374068"/>
              <a:ext cx="457200" cy="457200"/>
              <a:chOff x="-3781305" y="3065460"/>
              <a:chExt cx="1777999" cy="1777999"/>
            </a:xfrm>
          </p:grpSpPr>
          <p:sp>
            <p:nvSpPr>
              <p:cNvPr id="23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7" name="Rectangle 6"/>
            <p:cNvSpPr/>
            <p:nvPr/>
          </p:nvSpPr>
          <p:spPr>
            <a:xfrm>
              <a:off x="429386" y="3059868"/>
              <a:ext cx="914400" cy="914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8" name="Group 34"/>
            <p:cNvGrpSpPr>
              <a:grpSpLocks/>
            </p:cNvGrpSpPr>
            <p:nvPr/>
          </p:nvGrpSpPr>
          <p:grpSpPr bwMode="auto">
            <a:xfrm>
              <a:off x="657986" y="3288468"/>
              <a:ext cx="457200" cy="457200"/>
              <a:chOff x="-3781305" y="3065460"/>
              <a:chExt cx="1777999" cy="1777999"/>
            </a:xfrm>
          </p:grpSpPr>
          <p:sp>
            <p:nvSpPr>
              <p:cNvPr id="21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2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429386" y="3974268"/>
              <a:ext cx="914400" cy="914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10" name="Group 39"/>
            <p:cNvGrpSpPr>
              <a:grpSpLocks/>
            </p:cNvGrpSpPr>
            <p:nvPr/>
          </p:nvGrpSpPr>
          <p:grpSpPr bwMode="auto">
            <a:xfrm>
              <a:off x="657986" y="4202868"/>
              <a:ext cx="457200" cy="457200"/>
              <a:chOff x="-3781305" y="3065460"/>
              <a:chExt cx="1777999" cy="1777999"/>
            </a:xfrm>
          </p:grpSpPr>
          <p:sp>
            <p:nvSpPr>
              <p:cNvPr id="19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0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429386" y="4888668"/>
              <a:ext cx="914400" cy="9144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12" name="Group 44"/>
            <p:cNvGrpSpPr>
              <a:grpSpLocks/>
            </p:cNvGrpSpPr>
            <p:nvPr/>
          </p:nvGrpSpPr>
          <p:grpSpPr bwMode="auto">
            <a:xfrm>
              <a:off x="657986" y="5117268"/>
              <a:ext cx="457200" cy="457200"/>
              <a:chOff x="-3781305" y="3065460"/>
              <a:chExt cx="1777999" cy="1777999"/>
            </a:xfrm>
          </p:grpSpPr>
          <p:sp>
            <p:nvSpPr>
              <p:cNvPr id="17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18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1454911" y="2258655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cs typeface="Segoe UI"/>
                </a:rPr>
                <a:t>Discover</a:t>
              </a:r>
              <a:endParaRPr lang="en-US" sz="2800" dirty="0">
                <a:solidFill>
                  <a:schemeClr val="tx2"/>
                </a:solidFill>
                <a:latin typeface="+mj-lt"/>
                <a:cs typeface="Segoe UI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454911" y="3184167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Analy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454911" y="4051736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Visuali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54911" y="5017729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Explor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</p:grpSp>
      <p:sp useBgFill="1">
        <p:nvSpPr>
          <p:cNvPr id="25" name="Rectangle 24"/>
          <p:cNvSpPr/>
          <p:nvPr/>
        </p:nvSpPr>
        <p:spPr>
          <a:xfrm>
            <a:off x="-9144" y="0"/>
            <a:ext cx="429386" cy="6994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3826758" y="1308297"/>
            <a:ext cx="8260273" cy="5335314"/>
            <a:chOff x="3826758" y="1308297"/>
            <a:chExt cx="8260273" cy="5335314"/>
          </a:xfrm>
        </p:grpSpPr>
        <p:grpSp>
          <p:nvGrpSpPr>
            <p:cNvPr id="28" name="Group 27"/>
            <p:cNvGrpSpPr/>
            <p:nvPr/>
          </p:nvGrpSpPr>
          <p:grpSpPr>
            <a:xfrm>
              <a:off x="3826758" y="1308297"/>
              <a:ext cx="8260273" cy="5335314"/>
              <a:chOff x="4296161" y="1524072"/>
              <a:chExt cx="7291210" cy="4709396"/>
            </a:xfrm>
          </p:grpSpPr>
          <p:sp>
            <p:nvSpPr>
              <p:cNvPr id="30" name="Freeform 8"/>
              <p:cNvSpPr>
                <a:spLocks noEditPoints="1"/>
              </p:cNvSpPr>
              <p:nvPr/>
            </p:nvSpPr>
            <p:spPr bwMode="black">
              <a:xfrm>
                <a:off x="7913232" y="1585032"/>
                <a:ext cx="819927" cy="497472"/>
              </a:xfrm>
              <a:custGeom>
                <a:avLst/>
                <a:gdLst>
                  <a:gd name="T0" fmla="*/ 226 w 300"/>
                  <a:gd name="T1" fmla="*/ 193 h 300"/>
                  <a:gd name="T2" fmla="*/ 233 w 300"/>
                  <a:gd name="T3" fmla="*/ 157 h 300"/>
                  <a:gd name="T4" fmla="*/ 233 w 300"/>
                  <a:gd name="T5" fmla="*/ 128 h 300"/>
                  <a:gd name="T6" fmla="*/ 142 w 300"/>
                  <a:gd name="T7" fmla="*/ 51 h 300"/>
                  <a:gd name="T8" fmla="*/ 52 w 300"/>
                  <a:gd name="T9" fmla="*/ 128 h 300"/>
                  <a:gd name="T10" fmla="*/ 52 w 300"/>
                  <a:gd name="T11" fmla="*/ 157 h 300"/>
                  <a:gd name="T12" fmla="*/ 142 w 300"/>
                  <a:gd name="T13" fmla="*/ 234 h 300"/>
                  <a:gd name="T14" fmla="*/ 183 w 300"/>
                  <a:gd name="T15" fmla="*/ 224 h 300"/>
                  <a:gd name="T16" fmla="*/ 193 w 300"/>
                  <a:gd name="T17" fmla="*/ 226 h 300"/>
                  <a:gd name="T18" fmla="*/ 270 w 300"/>
                  <a:gd name="T19" fmla="*/ 300 h 300"/>
                  <a:gd name="T20" fmla="*/ 298 w 300"/>
                  <a:gd name="T21" fmla="*/ 275 h 300"/>
                  <a:gd name="T22" fmla="*/ 206 w 300"/>
                  <a:gd name="T23" fmla="*/ 157 h 300"/>
                  <a:gd name="T24" fmla="*/ 142 w 300"/>
                  <a:gd name="T25" fmla="*/ 208 h 300"/>
                  <a:gd name="T26" fmla="*/ 78 w 300"/>
                  <a:gd name="T27" fmla="*/ 157 h 300"/>
                  <a:gd name="T28" fmla="*/ 78 w 300"/>
                  <a:gd name="T29" fmla="*/ 128 h 300"/>
                  <a:gd name="T30" fmla="*/ 142 w 300"/>
                  <a:gd name="T31" fmla="*/ 77 h 300"/>
                  <a:gd name="T32" fmla="*/ 206 w 300"/>
                  <a:gd name="T33" fmla="*/ 128 h 300"/>
                  <a:gd name="T34" fmla="*/ 206 w 300"/>
                  <a:gd name="T35" fmla="*/ 157 h 300"/>
                  <a:gd name="T36" fmla="*/ 197 w 300"/>
                  <a:gd name="T37" fmla="*/ 142 h 300"/>
                  <a:gd name="T38" fmla="*/ 156 w 300"/>
                  <a:gd name="T39" fmla="*/ 157 h 300"/>
                  <a:gd name="T40" fmla="*/ 142 w 300"/>
                  <a:gd name="T41" fmla="*/ 197 h 300"/>
                  <a:gd name="T42" fmla="*/ 128 w 300"/>
                  <a:gd name="T43" fmla="*/ 157 h 300"/>
                  <a:gd name="T44" fmla="*/ 87 w 300"/>
                  <a:gd name="T45" fmla="*/ 142 h 300"/>
                  <a:gd name="T46" fmla="*/ 128 w 300"/>
                  <a:gd name="T47" fmla="*/ 128 h 300"/>
                  <a:gd name="T48" fmla="*/ 142 w 300"/>
                  <a:gd name="T49" fmla="*/ 88 h 300"/>
                  <a:gd name="T50" fmla="*/ 156 w 300"/>
                  <a:gd name="T51" fmla="*/ 128 h 300"/>
                  <a:gd name="T52" fmla="*/ 142 w 300"/>
                  <a:gd name="T53" fmla="*/ 40 h 300"/>
                  <a:gd name="T54" fmla="*/ 128 w 300"/>
                  <a:gd name="T55" fmla="*/ 0 h 300"/>
                  <a:gd name="T56" fmla="*/ 156 w 300"/>
                  <a:gd name="T57" fmla="*/ 41 h 300"/>
                  <a:gd name="T58" fmla="*/ 40 w 300"/>
                  <a:gd name="T59" fmla="*/ 142 h 300"/>
                  <a:gd name="T60" fmla="*/ 0 w 300"/>
                  <a:gd name="T61" fmla="*/ 157 h 300"/>
                  <a:gd name="T62" fmla="*/ 41 w 300"/>
                  <a:gd name="T63" fmla="*/ 128 h 300"/>
                  <a:gd name="T64" fmla="*/ 142 w 300"/>
                  <a:gd name="T65" fmla="*/ 245 h 300"/>
                  <a:gd name="T66" fmla="*/ 156 w 300"/>
                  <a:gd name="T67" fmla="*/ 285 h 300"/>
                  <a:gd name="T68" fmla="*/ 128 w 300"/>
                  <a:gd name="T69" fmla="*/ 244 h 300"/>
                  <a:gd name="T70" fmla="*/ 245 w 300"/>
                  <a:gd name="T71" fmla="*/ 142 h 300"/>
                  <a:gd name="T72" fmla="*/ 285 w 300"/>
                  <a:gd name="T73" fmla="*/ 128 h 300"/>
                  <a:gd name="T74" fmla="*/ 243 w 300"/>
                  <a:gd name="T75" fmla="*/ 157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0" h="300">
                    <a:moveTo>
                      <a:pt x="298" y="266"/>
                    </a:moveTo>
                    <a:cubicBezTo>
                      <a:pt x="226" y="193"/>
                      <a:pt x="226" y="193"/>
                      <a:pt x="226" y="193"/>
                    </a:cubicBezTo>
                    <a:cubicBezTo>
                      <a:pt x="223" y="191"/>
                      <a:pt x="222" y="186"/>
                      <a:pt x="224" y="183"/>
                    </a:cubicBezTo>
                    <a:cubicBezTo>
                      <a:pt x="228" y="175"/>
                      <a:pt x="231" y="166"/>
                      <a:pt x="233" y="157"/>
                    </a:cubicBezTo>
                    <a:cubicBezTo>
                      <a:pt x="233" y="152"/>
                      <a:pt x="234" y="147"/>
                      <a:pt x="234" y="142"/>
                    </a:cubicBezTo>
                    <a:cubicBezTo>
                      <a:pt x="234" y="138"/>
                      <a:pt x="233" y="133"/>
                      <a:pt x="233" y="128"/>
                    </a:cubicBezTo>
                    <a:cubicBezTo>
                      <a:pt x="227" y="89"/>
                      <a:pt x="196" y="58"/>
                      <a:pt x="156" y="52"/>
                    </a:cubicBezTo>
                    <a:cubicBezTo>
                      <a:pt x="152" y="51"/>
                      <a:pt x="147" y="51"/>
                      <a:pt x="142" y="51"/>
                    </a:cubicBezTo>
                    <a:cubicBezTo>
                      <a:pt x="137" y="51"/>
                      <a:pt x="133" y="51"/>
                      <a:pt x="128" y="52"/>
                    </a:cubicBezTo>
                    <a:cubicBezTo>
                      <a:pt x="89" y="58"/>
                      <a:pt x="58" y="89"/>
                      <a:pt x="52" y="128"/>
                    </a:cubicBezTo>
                    <a:cubicBezTo>
                      <a:pt x="51" y="133"/>
                      <a:pt x="51" y="138"/>
                      <a:pt x="51" y="142"/>
                    </a:cubicBezTo>
                    <a:cubicBezTo>
                      <a:pt x="51" y="147"/>
                      <a:pt x="51" y="152"/>
                      <a:pt x="52" y="157"/>
                    </a:cubicBezTo>
                    <a:cubicBezTo>
                      <a:pt x="58" y="196"/>
                      <a:pt x="89" y="227"/>
                      <a:pt x="128" y="233"/>
                    </a:cubicBezTo>
                    <a:cubicBezTo>
                      <a:pt x="133" y="234"/>
                      <a:pt x="137" y="234"/>
                      <a:pt x="142" y="234"/>
                    </a:cubicBezTo>
                    <a:cubicBezTo>
                      <a:pt x="147" y="234"/>
                      <a:pt x="152" y="234"/>
                      <a:pt x="156" y="233"/>
                    </a:cubicBezTo>
                    <a:cubicBezTo>
                      <a:pt x="166" y="231"/>
                      <a:pt x="175" y="228"/>
                      <a:pt x="183" y="224"/>
                    </a:cubicBezTo>
                    <a:cubicBezTo>
                      <a:pt x="184" y="224"/>
                      <a:pt x="185" y="223"/>
                      <a:pt x="187" y="223"/>
                    </a:cubicBezTo>
                    <a:cubicBezTo>
                      <a:pt x="189" y="223"/>
                      <a:pt x="192" y="224"/>
                      <a:pt x="193" y="226"/>
                    </a:cubicBezTo>
                    <a:cubicBezTo>
                      <a:pt x="265" y="298"/>
                      <a:pt x="265" y="298"/>
                      <a:pt x="265" y="298"/>
                    </a:cubicBezTo>
                    <a:cubicBezTo>
                      <a:pt x="267" y="299"/>
                      <a:pt x="268" y="300"/>
                      <a:pt x="270" y="300"/>
                    </a:cubicBezTo>
                    <a:cubicBezTo>
                      <a:pt x="272" y="300"/>
                      <a:pt x="273" y="299"/>
                      <a:pt x="275" y="298"/>
                    </a:cubicBezTo>
                    <a:cubicBezTo>
                      <a:pt x="298" y="275"/>
                      <a:pt x="298" y="275"/>
                      <a:pt x="298" y="275"/>
                    </a:cubicBezTo>
                    <a:cubicBezTo>
                      <a:pt x="300" y="272"/>
                      <a:pt x="300" y="268"/>
                      <a:pt x="298" y="266"/>
                    </a:cubicBezTo>
                    <a:close/>
                    <a:moveTo>
                      <a:pt x="206" y="157"/>
                    </a:moveTo>
                    <a:cubicBezTo>
                      <a:pt x="201" y="181"/>
                      <a:pt x="181" y="201"/>
                      <a:pt x="156" y="206"/>
                    </a:cubicBezTo>
                    <a:cubicBezTo>
                      <a:pt x="152" y="207"/>
                      <a:pt x="147" y="208"/>
                      <a:pt x="142" y="208"/>
                    </a:cubicBezTo>
                    <a:cubicBezTo>
                      <a:pt x="137" y="208"/>
                      <a:pt x="133" y="207"/>
                      <a:pt x="128" y="206"/>
                    </a:cubicBezTo>
                    <a:cubicBezTo>
                      <a:pt x="103" y="201"/>
                      <a:pt x="84" y="181"/>
                      <a:pt x="78" y="157"/>
                    </a:cubicBezTo>
                    <a:cubicBezTo>
                      <a:pt x="77" y="152"/>
                      <a:pt x="77" y="147"/>
                      <a:pt x="77" y="142"/>
                    </a:cubicBezTo>
                    <a:cubicBezTo>
                      <a:pt x="77" y="138"/>
                      <a:pt x="77" y="133"/>
                      <a:pt x="78" y="128"/>
                    </a:cubicBezTo>
                    <a:cubicBezTo>
                      <a:pt x="84" y="103"/>
                      <a:pt x="103" y="84"/>
                      <a:pt x="128" y="79"/>
                    </a:cubicBezTo>
                    <a:cubicBezTo>
                      <a:pt x="133" y="78"/>
                      <a:pt x="137" y="77"/>
                      <a:pt x="142" y="77"/>
                    </a:cubicBezTo>
                    <a:cubicBezTo>
                      <a:pt x="147" y="77"/>
                      <a:pt x="152" y="78"/>
                      <a:pt x="156" y="79"/>
                    </a:cubicBezTo>
                    <a:cubicBezTo>
                      <a:pt x="181" y="84"/>
                      <a:pt x="201" y="103"/>
                      <a:pt x="206" y="128"/>
                    </a:cubicBezTo>
                    <a:cubicBezTo>
                      <a:pt x="207" y="133"/>
                      <a:pt x="208" y="138"/>
                      <a:pt x="208" y="142"/>
                    </a:cubicBezTo>
                    <a:cubicBezTo>
                      <a:pt x="208" y="147"/>
                      <a:pt x="207" y="152"/>
                      <a:pt x="206" y="157"/>
                    </a:cubicBezTo>
                    <a:close/>
                    <a:moveTo>
                      <a:pt x="195" y="128"/>
                    </a:moveTo>
                    <a:cubicBezTo>
                      <a:pt x="196" y="133"/>
                      <a:pt x="197" y="138"/>
                      <a:pt x="197" y="142"/>
                    </a:cubicBezTo>
                    <a:cubicBezTo>
                      <a:pt x="197" y="147"/>
                      <a:pt x="196" y="152"/>
                      <a:pt x="195" y="157"/>
                    </a:cubicBezTo>
                    <a:cubicBezTo>
                      <a:pt x="156" y="157"/>
                      <a:pt x="156" y="157"/>
                      <a:pt x="156" y="157"/>
                    </a:cubicBezTo>
                    <a:cubicBezTo>
                      <a:pt x="156" y="195"/>
                      <a:pt x="156" y="195"/>
                      <a:pt x="156" y="195"/>
                    </a:cubicBezTo>
                    <a:cubicBezTo>
                      <a:pt x="152" y="197"/>
                      <a:pt x="147" y="197"/>
                      <a:pt x="142" y="197"/>
                    </a:cubicBezTo>
                    <a:cubicBezTo>
                      <a:pt x="137" y="197"/>
                      <a:pt x="133" y="197"/>
                      <a:pt x="128" y="195"/>
                    </a:cubicBezTo>
                    <a:cubicBezTo>
                      <a:pt x="128" y="157"/>
                      <a:pt x="128" y="157"/>
                      <a:pt x="128" y="157"/>
                    </a:cubicBezTo>
                    <a:cubicBezTo>
                      <a:pt x="89" y="157"/>
                      <a:pt x="89" y="157"/>
                      <a:pt x="89" y="157"/>
                    </a:cubicBezTo>
                    <a:cubicBezTo>
                      <a:pt x="88" y="152"/>
                      <a:pt x="87" y="147"/>
                      <a:pt x="87" y="142"/>
                    </a:cubicBezTo>
                    <a:cubicBezTo>
                      <a:pt x="87" y="138"/>
                      <a:pt x="88" y="133"/>
                      <a:pt x="89" y="128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8" y="90"/>
                      <a:pt x="128" y="90"/>
                      <a:pt x="128" y="90"/>
                    </a:cubicBezTo>
                    <a:cubicBezTo>
                      <a:pt x="133" y="88"/>
                      <a:pt x="137" y="88"/>
                      <a:pt x="142" y="88"/>
                    </a:cubicBezTo>
                    <a:cubicBezTo>
                      <a:pt x="147" y="88"/>
                      <a:pt x="152" y="88"/>
                      <a:pt x="156" y="90"/>
                    </a:cubicBezTo>
                    <a:cubicBezTo>
                      <a:pt x="156" y="128"/>
                      <a:pt x="156" y="128"/>
                      <a:pt x="156" y="128"/>
                    </a:cubicBezTo>
                    <a:lnTo>
                      <a:pt x="195" y="128"/>
                    </a:lnTo>
                    <a:close/>
                    <a:moveTo>
                      <a:pt x="142" y="40"/>
                    </a:moveTo>
                    <a:cubicBezTo>
                      <a:pt x="137" y="40"/>
                      <a:pt x="133" y="41"/>
                      <a:pt x="128" y="41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6" y="41"/>
                      <a:pt x="156" y="41"/>
                      <a:pt x="156" y="41"/>
                    </a:cubicBezTo>
                    <a:cubicBezTo>
                      <a:pt x="152" y="41"/>
                      <a:pt x="147" y="40"/>
                      <a:pt x="142" y="40"/>
                    </a:cubicBezTo>
                    <a:close/>
                    <a:moveTo>
                      <a:pt x="40" y="142"/>
                    </a:moveTo>
                    <a:cubicBezTo>
                      <a:pt x="40" y="147"/>
                      <a:pt x="40" y="152"/>
                      <a:pt x="41" y="157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41" y="128"/>
                      <a:pt x="41" y="128"/>
                      <a:pt x="41" y="128"/>
                    </a:cubicBezTo>
                    <a:cubicBezTo>
                      <a:pt x="40" y="133"/>
                      <a:pt x="40" y="138"/>
                      <a:pt x="40" y="142"/>
                    </a:cubicBezTo>
                    <a:close/>
                    <a:moveTo>
                      <a:pt x="142" y="245"/>
                    </a:moveTo>
                    <a:cubicBezTo>
                      <a:pt x="147" y="245"/>
                      <a:pt x="152" y="244"/>
                      <a:pt x="156" y="244"/>
                    </a:cubicBezTo>
                    <a:cubicBezTo>
                      <a:pt x="156" y="285"/>
                      <a:pt x="156" y="285"/>
                      <a:pt x="156" y="285"/>
                    </a:cubicBezTo>
                    <a:cubicBezTo>
                      <a:pt x="128" y="285"/>
                      <a:pt x="128" y="285"/>
                      <a:pt x="128" y="285"/>
                    </a:cubicBezTo>
                    <a:cubicBezTo>
                      <a:pt x="128" y="244"/>
                      <a:pt x="128" y="244"/>
                      <a:pt x="128" y="244"/>
                    </a:cubicBezTo>
                    <a:cubicBezTo>
                      <a:pt x="133" y="244"/>
                      <a:pt x="137" y="245"/>
                      <a:pt x="142" y="245"/>
                    </a:cubicBezTo>
                    <a:close/>
                    <a:moveTo>
                      <a:pt x="245" y="142"/>
                    </a:moveTo>
                    <a:cubicBezTo>
                      <a:pt x="245" y="138"/>
                      <a:pt x="244" y="133"/>
                      <a:pt x="243" y="128"/>
                    </a:cubicBezTo>
                    <a:cubicBezTo>
                      <a:pt x="285" y="128"/>
                      <a:pt x="285" y="128"/>
                      <a:pt x="285" y="128"/>
                    </a:cubicBezTo>
                    <a:cubicBezTo>
                      <a:pt x="285" y="157"/>
                      <a:pt x="285" y="157"/>
                      <a:pt x="285" y="157"/>
                    </a:cubicBezTo>
                    <a:cubicBezTo>
                      <a:pt x="243" y="157"/>
                      <a:pt x="243" y="157"/>
                      <a:pt x="243" y="157"/>
                    </a:cubicBezTo>
                    <a:cubicBezTo>
                      <a:pt x="244" y="152"/>
                      <a:pt x="245" y="147"/>
                      <a:pt x="245" y="1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2305" tIns="41153" rIns="82305" bIns="4115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>
                  <a:solidFill>
                    <a:srgbClr val="50505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4296161" y="1524072"/>
                <a:ext cx="7291210" cy="731520"/>
              </a:xfrm>
              <a:prstGeom prst="rect">
                <a:avLst/>
              </a:prstGeom>
              <a:solidFill>
                <a:srgbClr val="7FBA00"/>
              </a:solidFill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3256" tIns="91440" rIns="93256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932290" fontAlgn="base">
                  <a:spcBef>
                    <a:spcPts val="2400"/>
                  </a:spcBef>
                  <a:spcAft>
                    <a:spcPct val="0"/>
                  </a:spcAft>
                  <a:defRPr/>
                </a:pPr>
                <a:r>
                  <a:rPr lang="en-US" sz="24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  Easily </a:t>
                </a:r>
                <a:r>
                  <a:rPr lang="en-US" sz="2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discover and access public and corporate </a:t>
                </a:r>
                <a:r>
                  <a:rPr lang="en-US" sz="240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data</a:t>
                </a:r>
                <a:endPara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296161" y="2316552"/>
                <a:ext cx="7291210" cy="3916916"/>
              </a:xfrm>
              <a:prstGeom prst="rect">
                <a:avLst/>
              </a:prstGeom>
            </p:spPr>
          </p:pic>
        </p:grpSp>
        <p:sp>
          <p:nvSpPr>
            <p:cNvPr id="29" name="Rectangle 28"/>
            <p:cNvSpPr/>
            <p:nvPr/>
          </p:nvSpPr>
          <p:spPr>
            <a:xfrm>
              <a:off x="3826758" y="1308297"/>
              <a:ext cx="8260273" cy="5335314"/>
            </a:xfrm>
            <a:prstGeom prst="rect">
              <a:avLst/>
            </a:prstGeom>
            <a:noFill/>
            <a:ln>
              <a:solidFill>
                <a:srgbClr val="7FB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Right Brace 32"/>
          <p:cNvSpPr/>
          <p:nvPr/>
        </p:nvSpPr>
        <p:spPr>
          <a:xfrm>
            <a:off x="3020491" y="1278723"/>
            <a:ext cx="450165" cy="4206240"/>
          </a:xfrm>
          <a:prstGeom prst="rightBrac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413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2" decel="9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/>
          <p:cNvSpPr>
            <a:spLocks noEditPoints="1"/>
          </p:cNvSpPr>
          <p:nvPr/>
        </p:nvSpPr>
        <p:spPr bwMode="black">
          <a:xfrm>
            <a:off x="6984772" y="1514692"/>
            <a:ext cx="819927" cy="497472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50505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4320" y="292082"/>
            <a:ext cx="11887200" cy="946413"/>
          </a:xfrm>
        </p:spPr>
        <p:txBody>
          <a:bodyPr/>
          <a:lstStyle/>
          <a:p>
            <a:pPr lvl="0"/>
            <a:r>
              <a:rPr lang="en-US" smtClean="0"/>
              <a:t>Analyzing data with Exc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9049" y="2137568"/>
            <a:ext cx="8257981" cy="449928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29386" y="1359860"/>
            <a:ext cx="4156685" cy="3657600"/>
            <a:chOff x="471590" y="2125663"/>
            <a:chExt cx="4156685" cy="3657600"/>
          </a:xfrm>
        </p:grpSpPr>
        <p:sp>
          <p:nvSpPr>
            <p:cNvPr id="8" name="Rectangle 7"/>
            <p:cNvSpPr/>
            <p:nvPr/>
          </p:nvSpPr>
          <p:spPr>
            <a:xfrm>
              <a:off x="471590" y="2125663"/>
              <a:ext cx="914400" cy="914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9" name="Group 455"/>
            <p:cNvGrpSpPr>
              <a:grpSpLocks/>
            </p:cNvGrpSpPr>
            <p:nvPr/>
          </p:nvGrpSpPr>
          <p:grpSpPr bwMode="auto">
            <a:xfrm>
              <a:off x="700190" y="2354263"/>
              <a:ext cx="457200" cy="457200"/>
              <a:chOff x="-3781305" y="3065460"/>
              <a:chExt cx="1777999" cy="1777999"/>
            </a:xfrm>
          </p:grpSpPr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7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0" name="Rectangle 9"/>
            <p:cNvSpPr/>
            <p:nvPr/>
          </p:nvSpPr>
          <p:spPr>
            <a:xfrm>
              <a:off x="471590" y="3040063"/>
              <a:ext cx="914400" cy="914400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700190" y="3268663"/>
              <a:ext cx="457200" cy="457200"/>
              <a:chOff x="-3781305" y="3065460"/>
              <a:chExt cx="1777999" cy="1777999"/>
            </a:xfrm>
          </p:grpSpPr>
          <p:sp>
            <p:nvSpPr>
              <p:cNvPr id="24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5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471590" y="3954463"/>
              <a:ext cx="914400" cy="914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13" name="Group 39"/>
            <p:cNvGrpSpPr>
              <a:grpSpLocks/>
            </p:cNvGrpSpPr>
            <p:nvPr/>
          </p:nvGrpSpPr>
          <p:grpSpPr bwMode="auto">
            <a:xfrm>
              <a:off x="700190" y="4183063"/>
              <a:ext cx="457200" cy="457200"/>
              <a:chOff x="-3781305" y="3065460"/>
              <a:chExt cx="1777999" cy="1777999"/>
            </a:xfrm>
          </p:grpSpPr>
          <p:sp>
            <p:nvSpPr>
              <p:cNvPr id="22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3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471590" y="4868863"/>
              <a:ext cx="914400" cy="9144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15" name="Group 44"/>
            <p:cNvGrpSpPr>
              <a:grpSpLocks/>
            </p:cNvGrpSpPr>
            <p:nvPr/>
          </p:nvGrpSpPr>
          <p:grpSpPr bwMode="auto">
            <a:xfrm>
              <a:off x="700190" y="5097463"/>
              <a:ext cx="457200" cy="457200"/>
              <a:chOff x="-3781305" y="3065460"/>
              <a:chExt cx="1777999" cy="1777999"/>
            </a:xfrm>
          </p:grpSpPr>
          <p:sp>
            <p:nvSpPr>
              <p:cNvPr id="20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1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497115" y="2238850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cs typeface="Segoe UI"/>
                </a:rPr>
                <a:t>Discover</a:t>
              </a:r>
              <a:endParaRPr lang="en-US" sz="2800" dirty="0">
                <a:solidFill>
                  <a:schemeClr val="tx2"/>
                </a:solidFill>
                <a:latin typeface="+mj-lt"/>
                <a:cs typeface="Segoe UI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497115" y="3164362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Analy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497115" y="4031931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Visuali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497115" y="4997924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Explor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826758" y="1308297"/>
            <a:ext cx="8260273" cy="828745"/>
            <a:chOff x="4296161" y="1524072"/>
            <a:chExt cx="7291210" cy="731520"/>
          </a:xfrm>
        </p:grpSpPr>
        <p:sp>
          <p:nvSpPr>
            <p:cNvPr id="29" name="Freeform 8"/>
            <p:cNvSpPr>
              <a:spLocks noEditPoints="1"/>
            </p:cNvSpPr>
            <p:nvPr/>
          </p:nvSpPr>
          <p:spPr bwMode="black">
            <a:xfrm>
              <a:off x="7913232" y="1585032"/>
              <a:ext cx="819927" cy="497472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505050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4296161" y="1524072"/>
              <a:ext cx="7291210" cy="731520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spcBef>
                  <a:spcPts val="2400"/>
                </a:spcBef>
                <a:spcAft>
                  <a:spcPct val="0"/>
                </a:spcAft>
                <a:defRPr/>
              </a:pPr>
              <a:r>
                <a:rPr lang="en-US" sz="240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  Model &amp; analyze 100’s of millions of rows of data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3826758" y="1308297"/>
            <a:ext cx="8260273" cy="5335314"/>
          </a:xfrm>
          <a:prstGeom prst="rect">
            <a:avLst/>
          </a:prstGeom>
          <a:noFill/>
          <a:ln>
            <a:solidFill>
              <a:srgbClr val="7FB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/>
          <p:cNvSpPr/>
          <p:nvPr/>
        </p:nvSpPr>
        <p:spPr>
          <a:xfrm>
            <a:off x="3020491" y="1085540"/>
            <a:ext cx="450165" cy="4206240"/>
          </a:xfrm>
          <a:prstGeom prst="rightBrac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83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2282" b="2628"/>
          <a:stretch/>
        </p:blipFill>
        <p:spPr>
          <a:xfrm>
            <a:off x="4247373" y="2305914"/>
            <a:ext cx="7873206" cy="4552086"/>
          </a:xfrm>
          <a:prstGeom prst="rect">
            <a:avLst/>
          </a:prstGeom>
        </p:spPr>
      </p:pic>
      <p:sp>
        <p:nvSpPr>
          <p:cNvPr id="5" name="Freeform 8"/>
          <p:cNvSpPr>
            <a:spLocks noEditPoints="1"/>
          </p:cNvSpPr>
          <p:nvPr/>
        </p:nvSpPr>
        <p:spPr bwMode="black">
          <a:xfrm>
            <a:off x="7053747" y="1729081"/>
            <a:ext cx="781433" cy="497472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50505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62885" y="506471"/>
            <a:ext cx="11329115" cy="946413"/>
          </a:xfrm>
        </p:spPr>
        <p:txBody>
          <a:bodyPr/>
          <a:lstStyle/>
          <a:p>
            <a:pPr lvl="0"/>
            <a:r>
              <a:rPr lang="en-US" smtClean="0"/>
              <a:t>Analyzing data with Exc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551986" y="1675978"/>
            <a:ext cx="3961535" cy="3657600"/>
            <a:chOff x="471590" y="2125663"/>
            <a:chExt cx="4156685" cy="3657600"/>
          </a:xfrm>
        </p:grpSpPr>
        <p:sp>
          <p:nvSpPr>
            <p:cNvPr id="8" name="Rectangle 7"/>
            <p:cNvSpPr/>
            <p:nvPr/>
          </p:nvSpPr>
          <p:spPr>
            <a:xfrm>
              <a:off x="471590" y="2125663"/>
              <a:ext cx="914400" cy="914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9" name="Group 455"/>
            <p:cNvGrpSpPr>
              <a:grpSpLocks/>
            </p:cNvGrpSpPr>
            <p:nvPr/>
          </p:nvGrpSpPr>
          <p:grpSpPr bwMode="auto">
            <a:xfrm>
              <a:off x="700190" y="2354263"/>
              <a:ext cx="457200" cy="457200"/>
              <a:chOff x="-3781305" y="3065460"/>
              <a:chExt cx="1777999" cy="1777999"/>
            </a:xfrm>
          </p:grpSpPr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7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0" name="Rectangle 9"/>
            <p:cNvSpPr/>
            <p:nvPr/>
          </p:nvSpPr>
          <p:spPr>
            <a:xfrm>
              <a:off x="471590" y="3040063"/>
              <a:ext cx="914400" cy="914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700190" y="3268663"/>
              <a:ext cx="457200" cy="457200"/>
              <a:chOff x="-3781305" y="3065460"/>
              <a:chExt cx="1777999" cy="1777999"/>
            </a:xfrm>
          </p:grpSpPr>
          <p:sp>
            <p:nvSpPr>
              <p:cNvPr id="24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5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471590" y="3954463"/>
              <a:ext cx="914400" cy="914400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3" name="Group 39"/>
            <p:cNvGrpSpPr>
              <a:grpSpLocks/>
            </p:cNvGrpSpPr>
            <p:nvPr/>
          </p:nvGrpSpPr>
          <p:grpSpPr bwMode="auto">
            <a:xfrm>
              <a:off x="700190" y="4183063"/>
              <a:ext cx="457200" cy="457200"/>
              <a:chOff x="-3781305" y="3065460"/>
              <a:chExt cx="1777999" cy="1777999"/>
            </a:xfrm>
          </p:grpSpPr>
          <p:sp>
            <p:nvSpPr>
              <p:cNvPr id="22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3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471590" y="4868863"/>
              <a:ext cx="914400" cy="9144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36"/>
            </a:p>
          </p:txBody>
        </p:sp>
        <p:grpSp>
          <p:nvGrpSpPr>
            <p:cNvPr id="15" name="Group 44"/>
            <p:cNvGrpSpPr>
              <a:grpSpLocks/>
            </p:cNvGrpSpPr>
            <p:nvPr/>
          </p:nvGrpSpPr>
          <p:grpSpPr bwMode="auto">
            <a:xfrm>
              <a:off x="700190" y="5097463"/>
              <a:ext cx="457200" cy="457200"/>
              <a:chOff x="-3781305" y="3065460"/>
              <a:chExt cx="1777999" cy="1777999"/>
            </a:xfrm>
          </p:grpSpPr>
          <p:sp>
            <p:nvSpPr>
              <p:cNvPr id="20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1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497115" y="2238850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cs typeface="Segoe UI"/>
                </a:rPr>
                <a:t>Discover</a:t>
              </a:r>
              <a:endParaRPr lang="en-US" sz="2800" dirty="0">
                <a:solidFill>
                  <a:schemeClr val="tx2"/>
                </a:solidFill>
                <a:latin typeface="+mj-lt"/>
                <a:cs typeface="Segoe UI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497115" y="3164362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Analy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497115" y="4031931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Visuali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497115" y="4997924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Explor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245046" y="1522686"/>
            <a:ext cx="7872466" cy="828745"/>
            <a:chOff x="4296161" y="1524072"/>
            <a:chExt cx="7291210" cy="731520"/>
          </a:xfrm>
        </p:grpSpPr>
        <p:sp>
          <p:nvSpPr>
            <p:cNvPr id="29" name="Freeform 8"/>
            <p:cNvSpPr>
              <a:spLocks noEditPoints="1"/>
            </p:cNvSpPr>
            <p:nvPr/>
          </p:nvSpPr>
          <p:spPr bwMode="black">
            <a:xfrm>
              <a:off x="7913232" y="1585032"/>
              <a:ext cx="819927" cy="497472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505050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4296161" y="1524072"/>
              <a:ext cx="7291210" cy="731520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spcBef>
                  <a:spcPts val="2400"/>
                </a:spcBef>
                <a:spcAft>
                  <a:spcPct val="0"/>
                </a:spcAft>
                <a:defRPr/>
              </a:pPr>
              <a:r>
                <a:rPr lang="en-US" sz="240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  Explore your data with interactive visualization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4245046" y="1522686"/>
            <a:ext cx="7872466" cy="5335314"/>
          </a:xfrm>
          <a:prstGeom prst="rect">
            <a:avLst/>
          </a:prstGeom>
          <a:noFill/>
          <a:ln>
            <a:solidFill>
              <a:srgbClr val="7FB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/>
          <p:cNvSpPr/>
          <p:nvPr/>
        </p:nvSpPr>
        <p:spPr>
          <a:xfrm>
            <a:off x="3126864" y="1591748"/>
            <a:ext cx="429030" cy="4206240"/>
          </a:xfrm>
          <a:prstGeom prst="rightBrac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8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EditPoints="1"/>
          </p:cNvSpPr>
          <p:nvPr/>
        </p:nvSpPr>
        <p:spPr bwMode="black">
          <a:xfrm>
            <a:off x="6984772" y="1514692"/>
            <a:ext cx="819927" cy="497472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3822"/>
          <a:stretch/>
        </p:blipFill>
        <p:spPr>
          <a:xfrm>
            <a:off x="3829049" y="2016968"/>
            <a:ext cx="8253083" cy="451073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4320" y="292082"/>
            <a:ext cx="11887200" cy="946413"/>
          </a:xfrm>
        </p:spPr>
        <p:txBody>
          <a:bodyPr/>
          <a:lstStyle/>
          <a:p>
            <a:pPr lvl="0"/>
            <a:r>
              <a:rPr lang="en-US" smtClean="0"/>
              <a:t>Analyzing data with Exc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29386" y="1488649"/>
            <a:ext cx="4156685" cy="3657600"/>
            <a:chOff x="471590" y="2125663"/>
            <a:chExt cx="4156685" cy="3657600"/>
          </a:xfrm>
        </p:grpSpPr>
        <p:sp>
          <p:nvSpPr>
            <p:cNvPr id="7" name="Rectangle 6"/>
            <p:cNvSpPr/>
            <p:nvPr/>
          </p:nvSpPr>
          <p:spPr>
            <a:xfrm>
              <a:off x="471590" y="2125663"/>
              <a:ext cx="914400" cy="914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8" name="Group 455"/>
            <p:cNvGrpSpPr>
              <a:grpSpLocks/>
            </p:cNvGrpSpPr>
            <p:nvPr/>
          </p:nvGrpSpPr>
          <p:grpSpPr bwMode="auto">
            <a:xfrm>
              <a:off x="700190" y="2354263"/>
              <a:ext cx="457200" cy="457200"/>
              <a:chOff x="-3781305" y="3065460"/>
              <a:chExt cx="1777999" cy="1777999"/>
            </a:xfrm>
          </p:grpSpPr>
          <p:sp>
            <p:nvSpPr>
              <p:cNvPr id="25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471590" y="3040063"/>
              <a:ext cx="914400" cy="9144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0" name="Group 34"/>
            <p:cNvGrpSpPr>
              <a:grpSpLocks/>
            </p:cNvGrpSpPr>
            <p:nvPr/>
          </p:nvGrpSpPr>
          <p:grpSpPr bwMode="auto">
            <a:xfrm>
              <a:off x="700190" y="3268663"/>
              <a:ext cx="457200" cy="457200"/>
              <a:chOff x="-3781305" y="3065460"/>
              <a:chExt cx="1777999" cy="1777999"/>
            </a:xfrm>
          </p:grpSpPr>
          <p:sp>
            <p:nvSpPr>
              <p:cNvPr id="23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4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471590" y="3954463"/>
              <a:ext cx="914400" cy="9144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2" name="Group 39"/>
            <p:cNvGrpSpPr>
              <a:grpSpLocks/>
            </p:cNvGrpSpPr>
            <p:nvPr/>
          </p:nvGrpSpPr>
          <p:grpSpPr bwMode="auto">
            <a:xfrm>
              <a:off x="700190" y="4183063"/>
              <a:ext cx="457200" cy="457200"/>
              <a:chOff x="-3781305" y="3065460"/>
              <a:chExt cx="1777999" cy="1777999"/>
            </a:xfrm>
          </p:grpSpPr>
          <p:sp>
            <p:nvSpPr>
              <p:cNvPr id="21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2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" name="Rectangle 12"/>
            <p:cNvSpPr/>
            <p:nvPr/>
          </p:nvSpPr>
          <p:spPr>
            <a:xfrm>
              <a:off x="471590" y="4868863"/>
              <a:ext cx="914400" cy="914400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688"/>
              <a:endParaRPr lang="en-US" sz="1836"/>
            </a:p>
          </p:txBody>
        </p:sp>
        <p:grpSp>
          <p:nvGrpSpPr>
            <p:cNvPr id="14" name="Group 44"/>
            <p:cNvGrpSpPr>
              <a:grpSpLocks/>
            </p:cNvGrpSpPr>
            <p:nvPr/>
          </p:nvGrpSpPr>
          <p:grpSpPr bwMode="auto">
            <a:xfrm>
              <a:off x="700190" y="5097463"/>
              <a:ext cx="457200" cy="457200"/>
              <a:chOff x="-3781305" y="3065460"/>
              <a:chExt cx="1777999" cy="1777999"/>
            </a:xfrm>
          </p:grpSpPr>
          <p:sp>
            <p:nvSpPr>
              <p:cNvPr id="19" name="Freeform 5"/>
              <p:cNvSpPr>
                <a:spLocks noEditPoints="1"/>
              </p:cNvSpPr>
              <p:nvPr/>
            </p:nvSpPr>
            <p:spPr bwMode="auto">
              <a:xfrm>
                <a:off x="-3781305" y="3065460"/>
                <a:ext cx="1777999" cy="1777999"/>
              </a:xfrm>
              <a:custGeom>
                <a:avLst/>
                <a:gdLst>
                  <a:gd name="T0" fmla="*/ 618 w 1120"/>
                  <a:gd name="T1" fmla="*/ 4 h 1120"/>
                  <a:gd name="T2" fmla="*/ 726 w 1120"/>
                  <a:gd name="T3" fmla="*/ 26 h 1120"/>
                  <a:gd name="T4" fmla="*/ 828 w 1120"/>
                  <a:gd name="T5" fmla="*/ 68 h 1120"/>
                  <a:gd name="T6" fmla="*/ 916 w 1120"/>
                  <a:gd name="T7" fmla="*/ 128 h 1120"/>
                  <a:gd name="T8" fmla="*/ 992 w 1120"/>
                  <a:gd name="T9" fmla="*/ 204 h 1120"/>
                  <a:gd name="T10" fmla="*/ 1052 w 1120"/>
                  <a:gd name="T11" fmla="*/ 294 h 1120"/>
                  <a:gd name="T12" fmla="*/ 1094 w 1120"/>
                  <a:gd name="T13" fmla="*/ 394 h 1120"/>
                  <a:gd name="T14" fmla="*/ 1118 w 1120"/>
                  <a:gd name="T15" fmla="*/ 504 h 1120"/>
                  <a:gd name="T16" fmla="*/ 1120 w 1120"/>
                  <a:gd name="T17" fmla="*/ 590 h 1120"/>
                  <a:gd name="T18" fmla="*/ 1102 w 1120"/>
                  <a:gd name="T19" fmla="*/ 700 h 1120"/>
                  <a:gd name="T20" fmla="*/ 1064 w 1120"/>
                  <a:gd name="T21" fmla="*/ 802 h 1120"/>
                  <a:gd name="T22" fmla="*/ 1008 w 1120"/>
                  <a:gd name="T23" fmla="*/ 896 h 1120"/>
                  <a:gd name="T24" fmla="*/ 936 w 1120"/>
                  <a:gd name="T25" fmla="*/ 974 h 1120"/>
                  <a:gd name="T26" fmla="*/ 850 w 1120"/>
                  <a:gd name="T27" fmla="*/ 1038 h 1120"/>
                  <a:gd name="T28" fmla="*/ 752 w 1120"/>
                  <a:gd name="T29" fmla="*/ 1086 h 1120"/>
                  <a:gd name="T30" fmla="*/ 646 w 1120"/>
                  <a:gd name="T31" fmla="*/ 1114 h 1120"/>
                  <a:gd name="T32" fmla="*/ 560 w 1120"/>
                  <a:gd name="T33" fmla="*/ 1120 h 1120"/>
                  <a:gd name="T34" fmla="*/ 448 w 1120"/>
                  <a:gd name="T35" fmla="*/ 1108 h 1120"/>
                  <a:gd name="T36" fmla="*/ 342 w 1120"/>
                  <a:gd name="T37" fmla="*/ 1076 h 1120"/>
                  <a:gd name="T38" fmla="*/ 248 w 1120"/>
                  <a:gd name="T39" fmla="*/ 1024 h 1120"/>
                  <a:gd name="T40" fmla="*/ 164 w 1120"/>
                  <a:gd name="T41" fmla="*/ 956 h 1120"/>
                  <a:gd name="T42" fmla="*/ 96 w 1120"/>
                  <a:gd name="T43" fmla="*/ 874 h 1120"/>
                  <a:gd name="T44" fmla="*/ 44 w 1120"/>
                  <a:gd name="T45" fmla="*/ 778 h 1120"/>
                  <a:gd name="T46" fmla="*/ 12 w 1120"/>
                  <a:gd name="T47" fmla="*/ 674 h 1120"/>
                  <a:gd name="T48" fmla="*/ 0 w 1120"/>
                  <a:gd name="T49" fmla="*/ 560 h 1120"/>
                  <a:gd name="T50" fmla="*/ 6 w 1120"/>
                  <a:gd name="T51" fmla="*/ 476 h 1120"/>
                  <a:gd name="T52" fmla="*/ 34 w 1120"/>
                  <a:gd name="T53" fmla="*/ 368 h 1120"/>
                  <a:gd name="T54" fmla="*/ 82 w 1120"/>
                  <a:gd name="T55" fmla="*/ 270 h 1120"/>
                  <a:gd name="T56" fmla="*/ 146 w 1120"/>
                  <a:gd name="T57" fmla="*/ 184 h 1120"/>
                  <a:gd name="T58" fmla="*/ 226 w 1120"/>
                  <a:gd name="T59" fmla="*/ 112 h 1120"/>
                  <a:gd name="T60" fmla="*/ 318 w 1120"/>
                  <a:gd name="T61" fmla="*/ 56 h 1120"/>
                  <a:gd name="T62" fmla="*/ 420 w 1120"/>
                  <a:gd name="T63" fmla="*/ 18 h 1120"/>
                  <a:gd name="T64" fmla="*/ 532 w 1120"/>
                  <a:gd name="T65" fmla="*/ 2 h 1120"/>
                  <a:gd name="T66" fmla="*/ 536 w 1120"/>
                  <a:gd name="T67" fmla="*/ 72 h 1120"/>
                  <a:gd name="T68" fmla="*/ 438 w 1120"/>
                  <a:gd name="T69" fmla="*/ 86 h 1120"/>
                  <a:gd name="T70" fmla="*/ 288 w 1120"/>
                  <a:gd name="T71" fmla="*/ 156 h 1120"/>
                  <a:gd name="T72" fmla="*/ 156 w 1120"/>
                  <a:gd name="T73" fmla="*/ 288 h 1120"/>
                  <a:gd name="T74" fmla="*/ 88 w 1120"/>
                  <a:gd name="T75" fmla="*/ 438 h 1120"/>
                  <a:gd name="T76" fmla="*/ 72 w 1120"/>
                  <a:gd name="T77" fmla="*/ 536 h 1120"/>
                  <a:gd name="T78" fmla="*/ 74 w 1120"/>
                  <a:gd name="T79" fmla="*/ 610 h 1120"/>
                  <a:gd name="T80" fmla="*/ 94 w 1120"/>
                  <a:gd name="T81" fmla="*/ 706 h 1120"/>
                  <a:gd name="T82" fmla="*/ 184 w 1120"/>
                  <a:gd name="T83" fmla="*/ 870 h 1120"/>
                  <a:gd name="T84" fmla="*/ 328 w 1120"/>
                  <a:gd name="T85" fmla="*/ 990 h 1120"/>
                  <a:gd name="T86" fmla="*/ 462 w 1120"/>
                  <a:gd name="T87" fmla="*/ 1038 h 1120"/>
                  <a:gd name="T88" fmla="*/ 560 w 1120"/>
                  <a:gd name="T89" fmla="*/ 1048 h 1120"/>
                  <a:gd name="T90" fmla="*/ 634 w 1120"/>
                  <a:gd name="T91" fmla="*/ 1044 h 1120"/>
                  <a:gd name="T92" fmla="*/ 750 w 1120"/>
                  <a:gd name="T93" fmla="*/ 1010 h 1120"/>
                  <a:gd name="T94" fmla="*/ 906 w 1120"/>
                  <a:gd name="T95" fmla="*/ 906 h 1120"/>
                  <a:gd name="T96" fmla="*/ 1010 w 1120"/>
                  <a:gd name="T97" fmla="*/ 750 h 1120"/>
                  <a:gd name="T98" fmla="*/ 1044 w 1120"/>
                  <a:gd name="T99" fmla="*/ 634 h 1120"/>
                  <a:gd name="T100" fmla="*/ 1050 w 1120"/>
                  <a:gd name="T101" fmla="*/ 560 h 1120"/>
                  <a:gd name="T102" fmla="*/ 1040 w 1120"/>
                  <a:gd name="T103" fmla="*/ 462 h 1120"/>
                  <a:gd name="T104" fmla="*/ 990 w 1120"/>
                  <a:gd name="T105" fmla="*/ 328 h 1120"/>
                  <a:gd name="T106" fmla="*/ 870 w 1120"/>
                  <a:gd name="T107" fmla="*/ 184 h 1120"/>
                  <a:gd name="T108" fmla="*/ 706 w 1120"/>
                  <a:gd name="T109" fmla="*/ 94 h 1120"/>
                  <a:gd name="T110" fmla="*/ 610 w 1120"/>
                  <a:gd name="T111" fmla="*/ 74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0" h="1120">
                    <a:moveTo>
                      <a:pt x="560" y="0"/>
                    </a:moveTo>
                    <a:lnTo>
                      <a:pt x="560" y="0"/>
                    </a:lnTo>
                    <a:lnTo>
                      <a:pt x="590" y="2"/>
                    </a:lnTo>
                    <a:lnTo>
                      <a:pt x="618" y="4"/>
                    </a:lnTo>
                    <a:lnTo>
                      <a:pt x="646" y="6"/>
                    </a:lnTo>
                    <a:lnTo>
                      <a:pt x="674" y="12"/>
                    </a:lnTo>
                    <a:lnTo>
                      <a:pt x="700" y="18"/>
                    </a:lnTo>
                    <a:lnTo>
                      <a:pt x="726" y="26"/>
                    </a:lnTo>
                    <a:lnTo>
                      <a:pt x="752" y="34"/>
                    </a:lnTo>
                    <a:lnTo>
                      <a:pt x="778" y="44"/>
                    </a:lnTo>
                    <a:lnTo>
                      <a:pt x="802" y="56"/>
                    </a:lnTo>
                    <a:lnTo>
                      <a:pt x="828" y="68"/>
                    </a:lnTo>
                    <a:lnTo>
                      <a:pt x="850" y="82"/>
                    </a:lnTo>
                    <a:lnTo>
                      <a:pt x="874" y="96"/>
                    </a:lnTo>
                    <a:lnTo>
                      <a:pt x="896" y="112"/>
                    </a:lnTo>
                    <a:lnTo>
                      <a:pt x="916" y="128"/>
                    </a:lnTo>
                    <a:lnTo>
                      <a:pt x="936" y="146"/>
                    </a:lnTo>
                    <a:lnTo>
                      <a:pt x="956" y="164"/>
                    </a:lnTo>
                    <a:lnTo>
                      <a:pt x="974" y="184"/>
                    </a:lnTo>
                    <a:lnTo>
                      <a:pt x="992" y="204"/>
                    </a:lnTo>
                    <a:lnTo>
                      <a:pt x="1008" y="226"/>
                    </a:lnTo>
                    <a:lnTo>
                      <a:pt x="1024" y="248"/>
                    </a:lnTo>
                    <a:lnTo>
                      <a:pt x="1040" y="270"/>
                    </a:lnTo>
                    <a:lnTo>
                      <a:pt x="1052" y="294"/>
                    </a:lnTo>
                    <a:lnTo>
                      <a:pt x="1064" y="318"/>
                    </a:lnTo>
                    <a:lnTo>
                      <a:pt x="1076" y="342"/>
                    </a:lnTo>
                    <a:lnTo>
                      <a:pt x="1086" y="368"/>
                    </a:lnTo>
                    <a:lnTo>
                      <a:pt x="1094" y="394"/>
                    </a:lnTo>
                    <a:lnTo>
                      <a:pt x="1102" y="420"/>
                    </a:lnTo>
                    <a:lnTo>
                      <a:pt x="1108" y="448"/>
                    </a:lnTo>
                    <a:lnTo>
                      <a:pt x="1114" y="476"/>
                    </a:lnTo>
                    <a:lnTo>
                      <a:pt x="1118" y="504"/>
                    </a:lnTo>
                    <a:lnTo>
                      <a:pt x="1120" y="532"/>
                    </a:lnTo>
                    <a:lnTo>
                      <a:pt x="1120" y="560"/>
                    </a:lnTo>
                    <a:lnTo>
                      <a:pt x="1120" y="560"/>
                    </a:lnTo>
                    <a:lnTo>
                      <a:pt x="1120" y="590"/>
                    </a:lnTo>
                    <a:lnTo>
                      <a:pt x="1118" y="618"/>
                    </a:lnTo>
                    <a:lnTo>
                      <a:pt x="1114" y="646"/>
                    </a:lnTo>
                    <a:lnTo>
                      <a:pt x="1108" y="674"/>
                    </a:lnTo>
                    <a:lnTo>
                      <a:pt x="1102" y="700"/>
                    </a:lnTo>
                    <a:lnTo>
                      <a:pt x="1094" y="726"/>
                    </a:lnTo>
                    <a:lnTo>
                      <a:pt x="1086" y="752"/>
                    </a:lnTo>
                    <a:lnTo>
                      <a:pt x="1076" y="778"/>
                    </a:lnTo>
                    <a:lnTo>
                      <a:pt x="1064" y="802"/>
                    </a:lnTo>
                    <a:lnTo>
                      <a:pt x="1052" y="826"/>
                    </a:lnTo>
                    <a:lnTo>
                      <a:pt x="1040" y="850"/>
                    </a:lnTo>
                    <a:lnTo>
                      <a:pt x="1024" y="874"/>
                    </a:lnTo>
                    <a:lnTo>
                      <a:pt x="1008" y="896"/>
                    </a:lnTo>
                    <a:lnTo>
                      <a:pt x="992" y="916"/>
                    </a:lnTo>
                    <a:lnTo>
                      <a:pt x="974" y="936"/>
                    </a:lnTo>
                    <a:lnTo>
                      <a:pt x="956" y="956"/>
                    </a:lnTo>
                    <a:lnTo>
                      <a:pt x="936" y="974"/>
                    </a:lnTo>
                    <a:lnTo>
                      <a:pt x="916" y="992"/>
                    </a:lnTo>
                    <a:lnTo>
                      <a:pt x="896" y="1008"/>
                    </a:lnTo>
                    <a:lnTo>
                      <a:pt x="874" y="1024"/>
                    </a:lnTo>
                    <a:lnTo>
                      <a:pt x="850" y="1038"/>
                    </a:lnTo>
                    <a:lnTo>
                      <a:pt x="828" y="1052"/>
                    </a:lnTo>
                    <a:lnTo>
                      <a:pt x="802" y="1064"/>
                    </a:lnTo>
                    <a:lnTo>
                      <a:pt x="778" y="1076"/>
                    </a:lnTo>
                    <a:lnTo>
                      <a:pt x="752" y="1086"/>
                    </a:lnTo>
                    <a:lnTo>
                      <a:pt x="726" y="1094"/>
                    </a:lnTo>
                    <a:lnTo>
                      <a:pt x="700" y="1102"/>
                    </a:lnTo>
                    <a:lnTo>
                      <a:pt x="674" y="1108"/>
                    </a:lnTo>
                    <a:lnTo>
                      <a:pt x="646" y="1114"/>
                    </a:lnTo>
                    <a:lnTo>
                      <a:pt x="618" y="1118"/>
                    </a:lnTo>
                    <a:lnTo>
                      <a:pt x="590" y="1120"/>
                    </a:lnTo>
                    <a:lnTo>
                      <a:pt x="560" y="1120"/>
                    </a:lnTo>
                    <a:lnTo>
                      <a:pt x="560" y="1120"/>
                    </a:lnTo>
                    <a:lnTo>
                      <a:pt x="532" y="1120"/>
                    </a:lnTo>
                    <a:lnTo>
                      <a:pt x="504" y="1118"/>
                    </a:lnTo>
                    <a:lnTo>
                      <a:pt x="476" y="1114"/>
                    </a:lnTo>
                    <a:lnTo>
                      <a:pt x="448" y="1108"/>
                    </a:lnTo>
                    <a:lnTo>
                      <a:pt x="420" y="1102"/>
                    </a:lnTo>
                    <a:lnTo>
                      <a:pt x="394" y="1094"/>
                    </a:lnTo>
                    <a:lnTo>
                      <a:pt x="368" y="1086"/>
                    </a:lnTo>
                    <a:lnTo>
                      <a:pt x="342" y="1076"/>
                    </a:lnTo>
                    <a:lnTo>
                      <a:pt x="318" y="1064"/>
                    </a:lnTo>
                    <a:lnTo>
                      <a:pt x="294" y="1052"/>
                    </a:lnTo>
                    <a:lnTo>
                      <a:pt x="270" y="1038"/>
                    </a:lnTo>
                    <a:lnTo>
                      <a:pt x="248" y="1024"/>
                    </a:lnTo>
                    <a:lnTo>
                      <a:pt x="226" y="1008"/>
                    </a:lnTo>
                    <a:lnTo>
                      <a:pt x="204" y="992"/>
                    </a:lnTo>
                    <a:lnTo>
                      <a:pt x="184" y="974"/>
                    </a:lnTo>
                    <a:lnTo>
                      <a:pt x="164" y="956"/>
                    </a:lnTo>
                    <a:lnTo>
                      <a:pt x="146" y="936"/>
                    </a:lnTo>
                    <a:lnTo>
                      <a:pt x="128" y="916"/>
                    </a:lnTo>
                    <a:lnTo>
                      <a:pt x="112" y="896"/>
                    </a:lnTo>
                    <a:lnTo>
                      <a:pt x="96" y="874"/>
                    </a:lnTo>
                    <a:lnTo>
                      <a:pt x="82" y="850"/>
                    </a:lnTo>
                    <a:lnTo>
                      <a:pt x="68" y="826"/>
                    </a:lnTo>
                    <a:lnTo>
                      <a:pt x="56" y="802"/>
                    </a:lnTo>
                    <a:lnTo>
                      <a:pt x="44" y="778"/>
                    </a:lnTo>
                    <a:lnTo>
                      <a:pt x="34" y="752"/>
                    </a:lnTo>
                    <a:lnTo>
                      <a:pt x="26" y="726"/>
                    </a:lnTo>
                    <a:lnTo>
                      <a:pt x="18" y="700"/>
                    </a:lnTo>
                    <a:lnTo>
                      <a:pt x="12" y="674"/>
                    </a:lnTo>
                    <a:lnTo>
                      <a:pt x="6" y="646"/>
                    </a:lnTo>
                    <a:lnTo>
                      <a:pt x="4" y="618"/>
                    </a:lnTo>
                    <a:lnTo>
                      <a:pt x="2" y="590"/>
                    </a:lnTo>
                    <a:lnTo>
                      <a:pt x="0" y="560"/>
                    </a:lnTo>
                    <a:lnTo>
                      <a:pt x="0" y="560"/>
                    </a:lnTo>
                    <a:lnTo>
                      <a:pt x="2" y="532"/>
                    </a:lnTo>
                    <a:lnTo>
                      <a:pt x="4" y="504"/>
                    </a:lnTo>
                    <a:lnTo>
                      <a:pt x="6" y="476"/>
                    </a:lnTo>
                    <a:lnTo>
                      <a:pt x="12" y="448"/>
                    </a:lnTo>
                    <a:lnTo>
                      <a:pt x="18" y="420"/>
                    </a:lnTo>
                    <a:lnTo>
                      <a:pt x="26" y="394"/>
                    </a:lnTo>
                    <a:lnTo>
                      <a:pt x="34" y="368"/>
                    </a:lnTo>
                    <a:lnTo>
                      <a:pt x="44" y="342"/>
                    </a:lnTo>
                    <a:lnTo>
                      <a:pt x="56" y="318"/>
                    </a:lnTo>
                    <a:lnTo>
                      <a:pt x="68" y="294"/>
                    </a:lnTo>
                    <a:lnTo>
                      <a:pt x="82" y="270"/>
                    </a:lnTo>
                    <a:lnTo>
                      <a:pt x="96" y="248"/>
                    </a:lnTo>
                    <a:lnTo>
                      <a:pt x="112" y="226"/>
                    </a:lnTo>
                    <a:lnTo>
                      <a:pt x="128" y="204"/>
                    </a:lnTo>
                    <a:lnTo>
                      <a:pt x="146" y="184"/>
                    </a:lnTo>
                    <a:lnTo>
                      <a:pt x="164" y="164"/>
                    </a:lnTo>
                    <a:lnTo>
                      <a:pt x="184" y="146"/>
                    </a:lnTo>
                    <a:lnTo>
                      <a:pt x="204" y="128"/>
                    </a:lnTo>
                    <a:lnTo>
                      <a:pt x="226" y="112"/>
                    </a:lnTo>
                    <a:lnTo>
                      <a:pt x="248" y="96"/>
                    </a:lnTo>
                    <a:lnTo>
                      <a:pt x="270" y="82"/>
                    </a:lnTo>
                    <a:lnTo>
                      <a:pt x="294" y="68"/>
                    </a:lnTo>
                    <a:lnTo>
                      <a:pt x="318" y="56"/>
                    </a:lnTo>
                    <a:lnTo>
                      <a:pt x="342" y="44"/>
                    </a:lnTo>
                    <a:lnTo>
                      <a:pt x="368" y="34"/>
                    </a:lnTo>
                    <a:lnTo>
                      <a:pt x="394" y="26"/>
                    </a:lnTo>
                    <a:lnTo>
                      <a:pt x="420" y="18"/>
                    </a:lnTo>
                    <a:lnTo>
                      <a:pt x="448" y="12"/>
                    </a:lnTo>
                    <a:lnTo>
                      <a:pt x="476" y="6"/>
                    </a:lnTo>
                    <a:lnTo>
                      <a:pt x="504" y="4"/>
                    </a:lnTo>
                    <a:lnTo>
                      <a:pt x="532" y="2"/>
                    </a:lnTo>
                    <a:lnTo>
                      <a:pt x="560" y="0"/>
                    </a:lnTo>
                    <a:close/>
                    <a:moveTo>
                      <a:pt x="560" y="72"/>
                    </a:moveTo>
                    <a:lnTo>
                      <a:pt x="560" y="72"/>
                    </a:lnTo>
                    <a:lnTo>
                      <a:pt x="536" y="72"/>
                    </a:lnTo>
                    <a:lnTo>
                      <a:pt x="510" y="74"/>
                    </a:lnTo>
                    <a:lnTo>
                      <a:pt x="486" y="78"/>
                    </a:lnTo>
                    <a:lnTo>
                      <a:pt x="462" y="82"/>
                    </a:lnTo>
                    <a:lnTo>
                      <a:pt x="438" y="86"/>
                    </a:lnTo>
                    <a:lnTo>
                      <a:pt x="416" y="94"/>
                    </a:lnTo>
                    <a:lnTo>
                      <a:pt x="370" y="110"/>
                    </a:lnTo>
                    <a:lnTo>
                      <a:pt x="328" y="130"/>
                    </a:lnTo>
                    <a:lnTo>
                      <a:pt x="288" y="156"/>
                    </a:lnTo>
                    <a:lnTo>
                      <a:pt x="250" y="184"/>
                    </a:lnTo>
                    <a:lnTo>
                      <a:pt x="214" y="214"/>
                    </a:lnTo>
                    <a:lnTo>
                      <a:pt x="184" y="250"/>
                    </a:lnTo>
                    <a:lnTo>
                      <a:pt x="156" y="288"/>
                    </a:lnTo>
                    <a:lnTo>
                      <a:pt x="130" y="328"/>
                    </a:lnTo>
                    <a:lnTo>
                      <a:pt x="110" y="370"/>
                    </a:lnTo>
                    <a:lnTo>
                      <a:pt x="94" y="416"/>
                    </a:lnTo>
                    <a:lnTo>
                      <a:pt x="88" y="438"/>
                    </a:lnTo>
                    <a:lnTo>
                      <a:pt x="82" y="462"/>
                    </a:lnTo>
                    <a:lnTo>
                      <a:pt x="78" y="486"/>
                    </a:lnTo>
                    <a:lnTo>
                      <a:pt x="74" y="510"/>
                    </a:lnTo>
                    <a:lnTo>
                      <a:pt x="72" y="536"/>
                    </a:lnTo>
                    <a:lnTo>
                      <a:pt x="72" y="560"/>
                    </a:lnTo>
                    <a:lnTo>
                      <a:pt x="72" y="560"/>
                    </a:lnTo>
                    <a:lnTo>
                      <a:pt x="72" y="586"/>
                    </a:lnTo>
                    <a:lnTo>
                      <a:pt x="74" y="610"/>
                    </a:lnTo>
                    <a:lnTo>
                      <a:pt x="78" y="634"/>
                    </a:lnTo>
                    <a:lnTo>
                      <a:pt x="82" y="658"/>
                    </a:lnTo>
                    <a:lnTo>
                      <a:pt x="88" y="682"/>
                    </a:lnTo>
                    <a:lnTo>
                      <a:pt x="94" y="706"/>
                    </a:lnTo>
                    <a:lnTo>
                      <a:pt x="110" y="750"/>
                    </a:lnTo>
                    <a:lnTo>
                      <a:pt x="130" y="792"/>
                    </a:lnTo>
                    <a:lnTo>
                      <a:pt x="156" y="834"/>
                    </a:lnTo>
                    <a:lnTo>
                      <a:pt x="184" y="870"/>
                    </a:lnTo>
                    <a:lnTo>
                      <a:pt x="214" y="906"/>
                    </a:lnTo>
                    <a:lnTo>
                      <a:pt x="250" y="938"/>
                    </a:lnTo>
                    <a:lnTo>
                      <a:pt x="288" y="966"/>
                    </a:lnTo>
                    <a:lnTo>
                      <a:pt x="328" y="990"/>
                    </a:lnTo>
                    <a:lnTo>
                      <a:pt x="370" y="1010"/>
                    </a:lnTo>
                    <a:lnTo>
                      <a:pt x="416" y="1026"/>
                    </a:lnTo>
                    <a:lnTo>
                      <a:pt x="438" y="1034"/>
                    </a:lnTo>
                    <a:lnTo>
                      <a:pt x="462" y="1038"/>
                    </a:lnTo>
                    <a:lnTo>
                      <a:pt x="486" y="1044"/>
                    </a:lnTo>
                    <a:lnTo>
                      <a:pt x="510" y="1046"/>
                    </a:lnTo>
                    <a:lnTo>
                      <a:pt x="536" y="1048"/>
                    </a:lnTo>
                    <a:lnTo>
                      <a:pt x="560" y="1048"/>
                    </a:lnTo>
                    <a:lnTo>
                      <a:pt x="560" y="1048"/>
                    </a:lnTo>
                    <a:lnTo>
                      <a:pt x="586" y="1048"/>
                    </a:lnTo>
                    <a:lnTo>
                      <a:pt x="610" y="1046"/>
                    </a:lnTo>
                    <a:lnTo>
                      <a:pt x="634" y="1044"/>
                    </a:lnTo>
                    <a:lnTo>
                      <a:pt x="658" y="1038"/>
                    </a:lnTo>
                    <a:lnTo>
                      <a:pt x="682" y="1034"/>
                    </a:lnTo>
                    <a:lnTo>
                      <a:pt x="706" y="1026"/>
                    </a:lnTo>
                    <a:lnTo>
                      <a:pt x="750" y="1010"/>
                    </a:lnTo>
                    <a:lnTo>
                      <a:pt x="794" y="990"/>
                    </a:lnTo>
                    <a:lnTo>
                      <a:pt x="834" y="966"/>
                    </a:lnTo>
                    <a:lnTo>
                      <a:pt x="870" y="938"/>
                    </a:lnTo>
                    <a:lnTo>
                      <a:pt x="906" y="906"/>
                    </a:lnTo>
                    <a:lnTo>
                      <a:pt x="938" y="870"/>
                    </a:lnTo>
                    <a:lnTo>
                      <a:pt x="966" y="834"/>
                    </a:lnTo>
                    <a:lnTo>
                      <a:pt x="990" y="792"/>
                    </a:lnTo>
                    <a:lnTo>
                      <a:pt x="1010" y="750"/>
                    </a:lnTo>
                    <a:lnTo>
                      <a:pt x="1026" y="706"/>
                    </a:lnTo>
                    <a:lnTo>
                      <a:pt x="1034" y="682"/>
                    </a:lnTo>
                    <a:lnTo>
                      <a:pt x="1040" y="658"/>
                    </a:lnTo>
                    <a:lnTo>
                      <a:pt x="1044" y="634"/>
                    </a:lnTo>
                    <a:lnTo>
                      <a:pt x="1046" y="610"/>
                    </a:lnTo>
                    <a:lnTo>
                      <a:pt x="1048" y="586"/>
                    </a:lnTo>
                    <a:lnTo>
                      <a:pt x="1050" y="560"/>
                    </a:lnTo>
                    <a:lnTo>
                      <a:pt x="1050" y="560"/>
                    </a:lnTo>
                    <a:lnTo>
                      <a:pt x="1048" y="536"/>
                    </a:lnTo>
                    <a:lnTo>
                      <a:pt x="1046" y="510"/>
                    </a:lnTo>
                    <a:lnTo>
                      <a:pt x="1044" y="486"/>
                    </a:lnTo>
                    <a:lnTo>
                      <a:pt x="1040" y="462"/>
                    </a:lnTo>
                    <a:lnTo>
                      <a:pt x="1034" y="438"/>
                    </a:lnTo>
                    <a:lnTo>
                      <a:pt x="1026" y="416"/>
                    </a:lnTo>
                    <a:lnTo>
                      <a:pt x="1010" y="370"/>
                    </a:lnTo>
                    <a:lnTo>
                      <a:pt x="990" y="328"/>
                    </a:lnTo>
                    <a:lnTo>
                      <a:pt x="966" y="288"/>
                    </a:lnTo>
                    <a:lnTo>
                      <a:pt x="938" y="250"/>
                    </a:lnTo>
                    <a:lnTo>
                      <a:pt x="906" y="214"/>
                    </a:lnTo>
                    <a:lnTo>
                      <a:pt x="870" y="184"/>
                    </a:lnTo>
                    <a:lnTo>
                      <a:pt x="834" y="156"/>
                    </a:lnTo>
                    <a:lnTo>
                      <a:pt x="794" y="130"/>
                    </a:lnTo>
                    <a:lnTo>
                      <a:pt x="750" y="110"/>
                    </a:lnTo>
                    <a:lnTo>
                      <a:pt x="706" y="94"/>
                    </a:lnTo>
                    <a:lnTo>
                      <a:pt x="682" y="86"/>
                    </a:lnTo>
                    <a:lnTo>
                      <a:pt x="658" y="82"/>
                    </a:lnTo>
                    <a:lnTo>
                      <a:pt x="634" y="78"/>
                    </a:lnTo>
                    <a:lnTo>
                      <a:pt x="610" y="74"/>
                    </a:lnTo>
                    <a:lnTo>
                      <a:pt x="586" y="72"/>
                    </a:lnTo>
                    <a:lnTo>
                      <a:pt x="560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  <p:sp>
            <p:nvSpPr>
              <p:cNvPr id="20" name="Freeform 8"/>
              <p:cNvSpPr>
                <a:spLocks/>
              </p:cNvSpPr>
              <p:nvPr/>
            </p:nvSpPr>
            <p:spPr bwMode="auto">
              <a:xfrm>
                <a:off x="-3349152" y="3608737"/>
                <a:ext cx="932213" cy="691444"/>
              </a:xfrm>
              <a:custGeom>
                <a:avLst/>
                <a:gdLst>
                  <a:gd name="T0" fmla="*/ 388 w 586"/>
                  <a:gd name="T1" fmla="*/ 162 h 432"/>
                  <a:gd name="T2" fmla="*/ 216 w 586"/>
                  <a:gd name="T3" fmla="*/ 0 h 432"/>
                  <a:gd name="T4" fmla="*/ 356 w 586"/>
                  <a:gd name="T5" fmla="*/ 0 h 432"/>
                  <a:gd name="T6" fmla="*/ 586 w 586"/>
                  <a:gd name="T7" fmla="*/ 216 h 432"/>
                  <a:gd name="T8" fmla="*/ 358 w 586"/>
                  <a:gd name="T9" fmla="*/ 432 h 432"/>
                  <a:gd name="T10" fmla="*/ 218 w 586"/>
                  <a:gd name="T11" fmla="*/ 432 h 432"/>
                  <a:gd name="T12" fmla="*/ 388 w 586"/>
                  <a:gd name="T13" fmla="*/ 272 h 432"/>
                  <a:gd name="T14" fmla="*/ 0 w 586"/>
                  <a:gd name="T15" fmla="*/ 272 h 432"/>
                  <a:gd name="T16" fmla="*/ 0 w 586"/>
                  <a:gd name="T17" fmla="*/ 162 h 432"/>
                  <a:gd name="T18" fmla="*/ 388 w 586"/>
                  <a:gd name="T19" fmla="*/ 162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6" h="432">
                    <a:moveTo>
                      <a:pt x="388" y="162"/>
                    </a:moveTo>
                    <a:lnTo>
                      <a:pt x="216" y="0"/>
                    </a:lnTo>
                    <a:lnTo>
                      <a:pt x="356" y="0"/>
                    </a:lnTo>
                    <a:lnTo>
                      <a:pt x="586" y="216"/>
                    </a:lnTo>
                    <a:lnTo>
                      <a:pt x="358" y="432"/>
                    </a:lnTo>
                    <a:lnTo>
                      <a:pt x="218" y="432"/>
                    </a:lnTo>
                    <a:lnTo>
                      <a:pt x="388" y="272"/>
                    </a:lnTo>
                    <a:lnTo>
                      <a:pt x="0" y="272"/>
                    </a:lnTo>
                    <a:lnTo>
                      <a:pt x="0" y="162"/>
                    </a:lnTo>
                    <a:lnTo>
                      <a:pt x="388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3268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36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1497115" y="2238850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cs typeface="Segoe UI"/>
                </a:rPr>
                <a:t>Discover</a:t>
              </a:r>
              <a:endParaRPr lang="en-US" sz="2800" dirty="0">
                <a:solidFill>
                  <a:schemeClr val="tx2"/>
                </a:solidFill>
                <a:latin typeface="+mj-lt"/>
                <a:cs typeface="Segoe UI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97115" y="3164362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Analy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497115" y="4031931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Visualiz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497115" y="4997924"/>
              <a:ext cx="3131160" cy="683264"/>
            </a:xfrm>
            <a:prstGeom prst="rect">
              <a:avLst/>
            </a:prstGeom>
            <a:noFill/>
          </p:spPr>
          <p:txBody>
            <a:bodyPr wrap="square" tIns="146304" rIns="182880" bIns="146304" anchor="ctr">
              <a:spAutoFit/>
            </a:bodyPr>
            <a:lstStyle/>
            <a:p>
              <a:pPr defTabSz="932688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r>
                <a:rPr lang="en-US" sz="2800" dirty="0" smtClean="0">
                  <a:solidFill>
                    <a:schemeClr val="tx2"/>
                  </a:solidFill>
                  <a:latin typeface="+mj-lt"/>
                  <a:ea typeface="+mn-ea"/>
                  <a:cs typeface="Segoe UI"/>
                </a:rPr>
                <a:t>Explore</a:t>
              </a:r>
              <a:endParaRPr lang="en-US" sz="2800" dirty="0">
                <a:solidFill>
                  <a:schemeClr val="tx2"/>
                </a:solidFill>
                <a:latin typeface="+mj-lt"/>
                <a:ea typeface="+mn-ea"/>
                <a:cs typeface="Segoe UI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826758" y="1192386"/>
            <a:ext cx="8260273" cy="828745"/>
            <a:chOff x="4296161" y="1524072"/>
            <a:chExt cx="7291210" cy="731520"/>
          </a:xfrm>
        </p:grpSpPr>
        <p:sp>
          <p:nvSpPr>
            <p:cNvPr id="28" name="Freeform 8"/>
            <p:cNvSpPr>
              <a:spLocks noEditPoints="1"/>
            </p:cNvSpPr>
            <p:nvPr/>
          </p:nvSpPr>
          <p:spPr bwMode="black">
            <a:xfrm>
              <a:off x="7913232" y="1585032"/>
              <a:ext cx="819927" cy="497472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505050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4296161" y="1524072"/>
              <a:ext cx="7291210" cy="731520"/>
            </a:xfrm>
            <a:prstGeom prst="rect">
              <a:avLst/>
            </a:prstGeom>
            <a:solidFill>
              <a:srgbClr val="7FBA00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6" tIns="91440" rIns="93256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290" fontAlgn="base">
                <a:spcBef>
                  <a:spcPts val="2400"/>
                </a:spcBef>
                <a:spcAft>
                  <a:spcPct val="0"/>
                </a:spcAft>
                <a:defRPr/>
              </a:pPr>
              <a:r>
                <a:rPr lang="en-US" sz="240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  Uncover new insights with 3D geospatial analysis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3826758" y="1308297"/>
            <a:ext cx="8260273" cy="5335314"/>
          </a:xfrm>
          <a:prstGeom prst="rect">
            <a:avLst/>
          </a:prstGeom>
          <a:noFill/>
          <a:ln>
            <a:solidFill>
              <a:srgbClr val="7FB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ight Brace 30"/>
          <p:cNvSpPr/>
          <p:nvPr/>
        </p:nvSpPr>
        <p:spPr>
          <a:xfrm>
            <a:off x="3020491" y="1214329"/>
            <a:ext cx="450165" cy="4206240"/>
          </a:xfrm>
          <a:prstGeom prst="rightBrac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84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heme/theme1.xml><?xml version="1.0" encoding="utf-8"?>
<a:theme xmlns:a="http://schemas.openxmlformats.org/drawingml/2006/main" name="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rnship_first.pptx" id="{75DA9759-73AB-45A1-B88C-F4A79BE17CF8}" vid="{BDDD6E8F-DC01-47D2-BDC7-03A328871A8F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rnship_first.pptx" id="{75DA9759-73AB-45A1-B88C-F4A79BE17CF8}" vid="{D5A037EF-CD22-4F57-BE66-4554BDC8BF8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113</TotalTime>
  <Words>219</Words>
  <Application>Microsoft Office PowerPoint</Application>
  <PresentationFormat>Widescreen</PresentationFormat>
  <Paragraphs>77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DengXian</vt:lpstr>
      <vt:lpstr>Arial</vt:lpstr>
      <vt:lpstr>Arial Black</vt:lpstr>
      <vt:lpstr>Calibri</vt:lpstr>
      <vt:lpstr>Calibri Light</vt:lpstr>
      <vt:lpstr>Dolphin</vt:lpstr>
      <vt:lpstr>Segoe Light</vt:lpstr>
      <vt:lpstr>Segoe UI</vt:lpstr>
      <vt:lpstr>Segoe UI Light</vt:lpstr>
      <vt:lpstr>Office Theme</vt:lpstr>
      <vt:lpstr>Custom Design</vt:lpstr>
      <vt:lpstr>PowerPoint Presentation</vt:lpstr>
      <vt:lpstr>PowerPoint Presentation</vt:lpstr>
      <vt:lpstr>The world of data is changing</vt:lpstr>
      <vt:lpstr>A powerful new way to work with data</vt:lpstr>
      <vt:lpstr>PowerPoint Presentation</vt:lpstr>
      <vt:lpstr>Analyzing data with Excel </vt:lpstr>
      <vt:lpstr>Analyzing data with Excel</vt:lpstr>
      <vt:lpstr>Analyzing data with Excel</vt:lpstr>
      <vt:lpstr>Analyzing data with Excel</vt:lpstr>
      <vt:lpstr>Power BI Service Integration</vt:lpstr>
      <vt:lpstr>    Demo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ship</dc:title>
  <dc:creator>Aakesh Kunwar</dc:creator>
  <cp:lastModifiedBy>Aakesh Kunwar</cp:lastModifiedBy>
  <cp:revision>12</cp:revision>
  <dcterms:created xsi:type="dcterms:W3CDTF">2017-03-31T10:52:52Z</dcterms:created>
  <dcterms:modified xsi:type="dcterms:W3CDTF">2017-03-31T17:59:42Z</dcterms:modified>
</cp:coreProperties>
</file>